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drawings/drawing3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sldIdLst>
    <p:sldId id="265" r:id="rId2"/>
    <p:sldId id="403" r:id="rId3"/>
    <p:sldId id="396" r:id="rId4"/>
    <p:sldId id="391" r:id="rId5"/>
    <p:sldId id="398" r:id="rId6"/>
    <p:sldId id="404" r:id="rId7"/>
    <p:sldId id="394" r:id="rId8"/>
    <p:sldId id="399" r:id="rId9"/>
    <p:sldId id="384" r:id="rId10"/>
    <p:sldId id="401" r:id="rId11"/>
    <p:sldId id="402" r:id="rId12"/>
    <p:sldId id="405" r:id="rId13"/>
    <p:sldId id="379" r:id="rId14"/>
    <p:sldId id="380" r:id="rId15"/>
    <p:sldId id="388" r:id="rId16"/>
    <p:sldId id="358" r:id="rId17"/>
    <p:sldId id="397" r:id="rId18"/>
  </p:sldIdLst>
  <p:sldSz cx="9144000" cy="6858000" type="screen4x3"/>
  <p:notesSz cx="6735763" cy="9866313"/>
  <p:defaultTextStyle>
    <a:defPPr>
      <a:defRPr lang="uk-UA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озділ за промовчанням" id="{77A3EBE9-0D64-4243-8E3C-BC3CD36BDF2C}">
          <p14:sldIdLst>
            <p14:sldId id="265"/>
            <p14:sldId id="403"/>
          </p14:sldIdLst>
        </p14:section>
        <p14:section name="ІСТОРІЯ, УМОВИ, НОРМАТИВНА БАЗА" id="{983B6FF2-5A9E-499C-9084-123AF7D354E1}">
          <p14:sldIdLst>
            <p14:sldId id="396"/>
            <p14:sldId id="391"/>
            <p14:sldId id="398"/>
            <p14:sldId id="404"/>
            <p14:sldId id="394"/>
            <p14:sldId id="399"/>
            <p14:sldId id="384"/>
            <p14:sldId id="401"/>
            <p14:sldId id="402"/>
            <p14:sldId id="405"/>
          </p14:sldIdLst>
        </p14:section>
        <p14:section name="АНАЛІЗ ПРОЕКТІВ ДФРР" id="{3D8A60A1-7CBC-44D3-A85F-7C3EB723791F}">
          <p14:sldIdLst>
            <p14:sldId id="379"/>
            <p14:sldId id="380"/>
            <p14:sldId id="388"/>
            <p14:sldId id="358"/>
            <p14:sldId id="397"/>
          </p14:sldIdLst>
        </p14:section>
        <p14:section name="ДЕРЖАВНА СТРАТЕГІЯ І ПРОЕКТИ ДФРР" id="{3D59FC8D-37C4-44DF-A1EB-F41C6C41B3E8}">
          <p14:sldIdLst/>
        </p14:section>
        <p14:section name="МЕХАНІЗМ РОЗПОДІЛУ ДФРР" id="{17A97AD5-CC3B-4FC7-AA3F-95C3F992889F}">
          <p14:sldIdLst/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D89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Помірний стиль 4 –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7DF18680-E054-41AD-8BC1-D1AEF772440D}" styleName="Помірний стиль 2 –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A488322-F2BA-4B5B-9748-0D474271808F}" styleName="Помірний стиль 3 –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3B4B98B0-60AC-42C2-AFA5-B58CD77FA1E5}" styleName="Світлий стиль 1 –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66" autoAdjust="0"/>
    <p:restoredTop sz="94629" autoAdjust="0"/>
  </p:normalViewPr>
  <p:slideViewPr>
    <p:cSldViewPr>
      <p:cViewPr varScale="1">
        <p:scale>
          <a:sx n="113" d="100"/>
          <a:sy n="113" d="100"/>
        </p:scale>
        <p:origin x="-1800" y="-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file:///\\Servermrst1\&#1055;&#1072;&#1087;&#1082;&#1080;%20&#1091;&#1087;&#1088;&#1072;&#1074;&#1083;&#1110;&#1085;&#1100;%20(DATA)\&#1059;&#1087;&#1088;&#1072;&#1074;&#1083;&#1110;&#1085;&#1085;&#1103;%20&#1074;&#1087;&#1088;&#1086;&#1074;&#1072;&#1076;&#1078;&#1077;&#1085;&#1085;&#1103;%20&#1090;&#1072;%20&#1084;&#1086;&#1085;&#1110;&#1090;&#1086;&#1088;&#1080;&#1085;&#1075;&#1091;%20&#1087;&#1088;&#1110;&#1086;&#1088;&#1080;&#1090;&#1077;&#1090;&#1085;&#1080;&#1093;%20&#1087;&#1088;&#1086;&#1077;&#1082;&#1090;&#1110;&#1074;%20&#1073;&#1091;&#1076;&#1110;&#1074;&#1085;&#1080;&#1094;&#1090;&#1074;&#1072;\2017\&#1055;&#1088;&#1077;&#1079;&#1077;&#1085;&#1090;&#1072;&#1094;&#1110;&#1111;_2017\&#1055;&#1088;&#1077;&#1079;&#1077;&#1085;&#1090;&#1072;&#1094;&#1110;&#1103;%2020_02_2017%20&#1044;&#1060;&#1056;&#1056;\&#1053;&#1072;%2017.02.2017%20&#1054;&#1058;&#1043;.xlsx" TargetMode="Externa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\\Servermrst1\&#1055;&#1072;&#1087;&#1082;&#1080;%20&#1091;&#1087;&#1088;&#1072;&#1074;&#1083;&#1110;&#1085;&#1100;%20(DATA)\&#1059;&#1087;&#1088;&#1072;&#1074;&#1083;&#1110;&#1085;&#1085;&#1103;%20&#1074;&#1087;&#1088;&#1086;&#1074;&#1072;&#1076;&#1078;&#1077;&#1085;&#1085;&#1103;%20&#1090;&#1072;%20&#1084;&#1086;&#1085;&#1110;&#1090;&#1086;&#1088;&#1080;&#1085;&#1075;&#1091;%20&#1087;&#1088;&#1110;&#1086;&#1088;&#1080;&#1090;&#1077;&#1090;&#1085;&#1080;&#1093;%20&#1087;&#1088;&#1086;&#1077;&#1082;&#1090;&#1110;&#1074;%20&#1073;&#1091;&#1076;&#1110;&#1074;&#1085;&#1080;&#1094;&#1090;&#1074;&#1072;\2017\&#1055;&#1088;&#1077;&#1079;&#1077;&#1085;&#1090;&#1072;&#1094;&#1110;&#1111;_2017\&#1055;&#1088;&#1077;&#1079;&#1077;&#1085;&#1090;&#1072;&#1094;&#1110;&#1103;%2020_02_2017%20&#1044;&#1060;&#1056;&#1056;\&#1053;&#1072;%2017.02.2017%20&#1054;&#1058;&#1043;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oleObject" Target="file:///\\Servermrst1\&#1055;&#1072;&#1087;&#1082;&#1080;%20&#1091;&#1087;&#1088;&#1072;&#1074;&#1083;&#1110;&#1085;&#1100;%20(DATA)\&#1059;&#1087;&#1088;&#1072;&#1074;&#1083;&#1110;&#1085;&#1085;&#1103;%20&#1074;&#1087;&#1088;&#1086;&#1074;&#1072;&#1076;&#1078;&#1077;&#1085;&#1085;&#1103;%20&#1090;&#1072;%20&#1084;&#1086;&#1085;&#1110;&#1090;&#1086;&#1088;&#1080;&#1085;&#1075;&#1091;%20&#1087;&#1088;&#1110;&#1086;&#1088;&#1080;&#1090;&#1077;&#1090;&#1085;&#1080;&#1093;%20&#1087;&#1088;&#1086;&#1077;&#1082;&#1090;&#1110;&#1074;%20&#1073;&#1091;&#1076;&#1110;&#1074;&#1085;&#1080;&#1094;&#1090;&#1074;&#1072;\2017\&#1055;&#1088;&#1077;&#1079;&#1077;&#1085;&#1090;&#1072;&#1094;&#1110;&#1111;_2017\&#1055;&#1088;&#1077;&#1079;&#1077;&#1085;&#1090;&#1072;&#1094;&#1110;&#1103;%2020_02_2017%20&#1044;&#1060;&#1056;&#1056;\&#1053;&#1072;%2017.02.2017%20&#1054;&#1058;&#1043;.xlsx" TargetMode="Externa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oleObject" Target="file:///\\Servermrst1\&#1055;&#1072;&#1087;&#1082;&#1080;%20&#1091;&#1087;&#1088;&#1072;&#1074;&#1083;&#1110;&#1085;&#1100;%20(DATA)\&#1059;&#1087;&#1088;&#1072;&#1074;&#1083;&#1110;&#1085;&#1085;&#1103;%20&#1074;&#1087;&#1088;&#1086;&#1074;&#1072;&#1076;&#1078;&#1077;&#1085;&#1085;&#1103;%20&#1090;&#1072;%20&#1084;&#1086;&#1085;&#1110;&#1090;&#1086;&#1088;&#1080;&#1085;&#1075;&#1091;%20&#1087;&#1088;&#1110;&#1086;&#1088;&#1080;&#1090;&#1077;&#1090;&#1085;&#1080;&#1093;%20&#1087;&#1088;&#1086;&#1077;&#1082;&#1090;&#1110;&#1074;%20&#1073;&#1091;&#1076;&#1110;&#1074;&#1085;&#1080;&#1094;&#1090;&#1074;&#1072;\2017\&#1055;&#1088;&#1077;&#1079;&#1077;&#1085;&#1090;&#1072;&#1094;&#1110;&#1111;_2017\&#1055;&#1088;&#1077;&#1079;&#1077;&#1085;&#1090;&#1072;&#1094;&#1110;&#1103;%2020_02_2017%20&#1044;&#1060;&#1056;&#1056;\&#1053;&#1072;%2017.02.2017%20&#1054;&#1058;&#1043;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6332471467555328E-2"/>
          <c:y val="6.6134184698528484E-2"/>
          <c:w val="0.90733505706488937"/>
          <c:h val="0.867731630602943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val>
            <c:numRef>
              <c:f>Аркуш2!$C$55:$C$56</c:f>
              <c:numCache>
                <c:formatCode>General</c:formatCode>
                <c:ptCount val="2"/>
                <c:pt idx="0">
                  <c:v>2756134.3509999998</c:v>
                </c:pt>
                <c:pt idx="1">
                  <c:v>300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4.8182465652317125E-2"/>
          <c:y val="4.8865094290821275E-2"/>
          <c:w val="0.90363506869536581"/>
          <c:h val="0.88055199173354803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val>
            <c:numRef>
              <c:f>Аркуш2!$C$52:$C$53</c:f>
              <c:numCache>
                <c:formatCode>General</c:formatCode>
                <c:ptCount val="2"/>
                <c:pt idx="0">
                  <c:v>2016874.4869999997</c:v>
                </c:pt>
                <c:pt idx="1">
                  <c:v>29008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3.6885567287439254E-2"/>
          <c:y val="9.8397743824960485E-2"/>
          <c:w val="0.90983527996403735"/>
          <c:h val="0.87266174328534529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1"/>
            <c:bubble3D val="0"/>
            <c:spPr>
              <a:solidFill>
                <a:schemeClr val="tx2">
                  <a:lumMod val="60000"/>
                  <a:lumOff val="40000"/>
                </a:schemeClr>
              </a:solidFill>
            </c:spPr>
          </c:dPt>
          <c:val>
            <c:numRef>
              <c:f>Аркуш2!$C$58:$C$59</c:f>
              <c:numCache>
                <c:formatCode>General</c:formatCode>
                <c:ptCount val="2"/>
                <c:pt idx="0">
                  <c:v>3237378.8770000003</c:v>
                </c:pt>
                <c:pt idx="1">
                  <c:v>350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plotVisOnly val="1"/>
    <c:dispBlanksAs val="gap"/>
    <c:showDLblsOverMax val="0"/>
  </c:chart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view3D>
      <c:rotX val="15"/>
      <c:rotY val="20"/>
      <c:depthPercent val="100"/>
      <c:rAngAx val="1"/>
    </c:view3D>
    <c:floor>
      <c:thickness val="0"/>
    </c:floor>
    <c:sideWall>
      <c:thickness val="0"/>
    </c:sideWall>
    <c:backWall>
      <c:thickness val="0"/>
    </c:backWall>
    <c:plotArea>
      <c:layout/>
      <c:bar3D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>
                <c:manualLayout>
                  <c:x val="-7.2538983123738937E-2"/>
                  <c:y val="6.062207972568339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vert="horz"/>
              <a:lstStyle/>
              <a:p>
                <a:pPr>
                  <a:defRPr/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20.02'!$C$9:$C$17</c:f>
              <c:strCache>
                <c:ptCount val="9"/>
                <c:pt idx="0">
                  <c:v>Заклади освіти</c:v>
                </c:pt>
                <c:pt idx="1">
                  <c:v>Заклади охорони здоровя та соцзахисту населення</c:v>
                </c:pt>
                <c:pt idx="2">
                  <c:v>Об'єкти дорожньо-транспортної інфраструктури</c:v>
                </c:pt>
                <c:pt idx="3">
                  <c:v>Об'єкти водопостачання та водовідведення</c:v>
                </c:pt>
                <c:pt idx="4">
                  <c:v>Заклади культури</c:v>
                </c:pt>
                <c:pt idx="5">
                  <c:v>Заклади спорту</c:v>
                </c:pt>
                <c:pt idx="6">
                  <c:v>Об'єкти газо-, тепло-, енергопостачання</c:v>
                </c:pt>
                <c:pt idx="7">
                  <c:v>Інші об'єкти і заходи</c:v>
                </c:pt>
                <c:pt idx="8">
                  <c:v>Охорона природи</c:v>
                </c:pt>
              </c:strCache>
            </c:strRef>
          </c:cat>
          <c:val>
            <c:numRef>
              <c:f>'20.02'!$D$9:$D$17</c:f>
              <c:numCache>
                <c:formatCode>0.000</c:formatCode>
                <c:ptCount val="9"/>
                <c:pt idx="0">
                  <c:v>0.2822117053333334</c:v>
                </c:pt>
                <c:pt idx="1">
                  <c:v>0.20303252933333335</c:v>
                </c:pt>
                <c:pt idx="2">
                  <c:v>0.19189583200000004</c:v>
                </c:pt>
                <c:pt idx="3">
                  <c:v>0.191420163</c:v>
                </c:pt>
                <c:pt idx="4">
                  <c:v>5.7312791000000002E-2</c:v>
                </c:pt>
                <c:pt idx="5">
                  <c:v>2.6165140999999999E-2</c:v>
                </c:pt>
                <c:pt idx="6">
                  <c:v>2.5054601333333336E-2</c:v>
                </c:pt>
                <c:pt idx="7">
                  <c:v>1.8567606333333337E-2</c:v>
                </c:pt>
                <c:pt idx="8">
                  <c:v>4.3396306666666669E-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37169536"/>
        <c:axId val="137171328"/>
        <c:axId val="0"/>
      </c:bar3DChart>
      <c:catAx>
        <c:axId val="13716953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 rot="-60000000" vert="horz"/>
          <a:lstStyle/>
          <a:p>
            <a:pPr>
              <a:defRPr/>
            </a:pPr>
            <a:endParaRPr lang="uk-UA"/>
          </a:p>
        </c:txPr>
        <c:crossAx val="137171328"/>
        <c:crosses val="autoZero"/>
        <c:auto val="1"/>
        <c:lblAlgn val="ctr"/>
        <c:lblOffset val="100"/>
        <c:noMultiLvlLbl val="0"/>
      </c:catAx>
      <c:valAx>
        <c:axId val="137171328"/>
        <c:scaling>
          <c:orientation val="minMax"/>
        </c:scaling>
        <c:delete val="1"/>
        <c:axPos val="b"/>
        <c:numFmt formatCode="0.000" sourceLinked="1"/>
        <c:majorTickMark val="none"/>
        <c:minorTickMark val="none"/>
        <c:tickLblPos val="nextTo"/>
        <c:crossAx val="13716953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uk-UA"/>
    </a:p>
  </c:txPr>
  <c:externalData r:id="rId1">
    <c:autoUpdate val="0"/>
  </c:externalData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1569</cdr:x>
      <cdr:y>0.89854</cdr:y>
    </cdr:from>
    <cdr:to>
      <cdr:x>1</cdr:x>
      <cdr:y>1</cdr:y>
    </cdr:to>
    <cdr:sp macro="" textlink="">
      <cdr:nvSpPr>
        <cdr:cNvPr id="2" name="Прямоугольник 193"/>
        <cdr:cNvSpPr/>
      </cdr:nvSpPr>
      <cdr:spPr>
        <a:xfrm xmlns:a="http://schemas.openxmlformats.org/drawingml/2006/main">
          <a:off x="5834026" y="5804355"/>
          <a:ext cx="857255" cy="21431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72000" tIns="72000" rIns="72000" bIns="72000" anchor="ctr"/>
        <a:lstStyle xmlns:a="http://schemas.openxmlformats.org/drawingml/2006/main">
          <a:defPPr>
            <a:defRPr lang="uk-UA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ru-RU" sz="1200" b="1" dirty="0" smtClean="0">
              <a:solidFill>
                <a:schemeClr val="tx2"/>
              </a:solidFill>
            </a:rPr>
            <a:t>млрд.</a:t>
          </a:r>
          <a:r>
            <a:rPr lang="uk-UA" sz="1200" b="1" dirty="0" smtClean="0">
              <a:solidFill>
                <a:schemeClr val="tx2"/>
              </a:solidFill>
            </a:rPr>
            <a:t> грн.</a:t>
          </a:r>
          <a:endParaRPr lang="ru-RU" sz="1200" b="1" dirty="0">
            <a:solidFill>
              <a:schemeClr val="tx2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0433</cdr:x>
      <cdr:y>0.81529</cdr:y>
    </cdr:from>
    <cdr:to>
      <cdr:x>1</cdr:x>
      <cdr:y>0.90692</cdr:y>
    </cdr:to>
    <cdr:sp macro="" textlink="">
      <cdr:nvSpPr>
        <cdr:cNvPr id="2" name="Прямоугольник 193"/>
        <cdr:cNvSpPr/>
      </cdr:nvSpPr>
      <cdr:spPr>
        <a:xfrm xmlns:a="http://schemas.openxmlformats.org/drawingml/2006/main">
          <a:off x="2042140" y="1907045"/>
          <a:ext cx="857255" cy="21431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72000" tIns="72000" rIns="72000" bIns="72000" anchor="ctr"/>
        <a:lstStyle xmlns:a="http://schemas.openxmlformats.org/drawingml/2006/main">
          <a:defPPr>
            <a:defRPr lang="uk-UA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ru-RU" sz="1200" b="1" dirty="0" smtClean="0">
              <a:solidFill>
                <a:schemeClr val="tx2"/>
              </a:solidFill>
            </a:rPr>
            <a:t>млрд.</a:t>
          </a:r>
          <a:r>
            <a:rPr lang="uk-UA" sz="1200" b="1" dirty="0" smtClean="0">
              <a:solidFill>
                <a:schemeClr val="tx2"/>
              </a:solidFill>
            </a:rPr>
            <a:t> грн.</a:t>
          </a:r>
          <a:endParaRPr lang="ru-RU" sz="1200" b="1" dirty="0">
            <a:solidFill>
              <a:schemeClr val="tx2"/>
            </a:solidFill>
          </a:endParaRP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1334</cdr:x>
      <cdr:y>0.87318</cdr:y>
    </cdr:from>
    <cdr:to>
      <cdr:x>1</cdr:x>
      <cdr:y>0.96619</cdr:y>
    </cdr:to>
    <cdr:sp macro="" textlink="">
      <cdr:nvSpPr>
        <cdr:cNvPr id="3" name="Прямоугольник 193"/>
        <cdr:cNvSpPr/>
      </cdr:nvSpPr>
      <cdr:spPr>
        <a:xfrm xmlns:a="http://schemas.openxmlformats.org/drawingml/2006/main">
          <a:off x="2133246" y="2012040"/>
          <a:ext cx="857255" cy="21431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ffectLst xmlns:a="http://schemas.openxmlformats.org/drawingml/2006/main"/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lIns="72000" tIns="72000" rIns="72000" bIns="72000" anchor="ctr"/>
        <a:lstStyle xmlns:a="http://schemas.openxmlformats.org/drawingml/2006/main">
          <a:defPPr>
            <a:defRPr lang="uk-UA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>
            <a:defRPr/>
          </a:pPr>
          <a:r>
            <a:rPr lang="ru-RU" sz="1200" b="1" dirty="0" smtClean="0">
              <a:solidFill>
                <a:schemeClr val="tx2"/>
              </a:solidFill>
            </a:rPr>
            <a:t>млрд.</a:t>
          </a:r>
          <a:r>
            <a:rPr lang="uk-UA" sz="1200" b="1" dirty="0" smtClean="0">
              <a:solidFill>
                <a:schemeClr val="tx2"/>
              </a:solidFill>
            </a:rPr>
            <a:t> грн.</a:t>
          </a:r>
          <a:endParaRPr lang="ru-RU" sz="1200" b="1" dirty="0">
            <a:solidFill>
              <a:schemeClr val="tx2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0" cy="493316"/>
          </a:xfrm>
          <a:prstGeom prst="rect">
            <a:avLst/>
          </a:prstGeom>
        </p:spPr>
        <p:txBody>
          <a:bodyPr vert="horz" lIns="91350" tIns="45674" rIns="91350" bIns="45674" rtlCol="0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3" name="Місце для дати 2"/>
          <p:cNvSpPr>
            <a:spLocks noGrp="1"/>
          </p:cNvSpPr>
          <p:nvPr>
            <p:ph type="dt" idx="1"/>
          </p:nvPr>
        </p:nvSpPr>
        <p:spPr>
          <a:xfrm>
            <a:off x="3815376" y="0"/>
            <a:ext cx="2918830" cy="493316"/>
          </a:xfrm>
          <a:prstGeom prst="rect">
            <a:avLst/>
          </a:prstGeom>
        </p:spPr>
        <p:txBody>
          <a:bodyPr vert="horz" lIns="91350" tIns="45674" rIns="91350" bIns="45674" rtlCol="0"/>
          <a:lstStyle>
            <a:lvl1pPr algn="r">
              <a:defRPr sz="1200"/>
            </a:lvl1pPr>
          </a:lstStyle>
          <a:p>
            <a:fld id="{B9AB9970-EC38-47A6-BAFA-B30FE591FA4A}" type="datetimeFigureOut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4" name="Місце для зображення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50" tIns="45674" rIns="91350" bIns="45674" rtlCol="0" anchor="ctr"/>
          <a:lstStyle/>
          <a:p>
            <a:endParaRPr lang="uk-UA" dirty="0"/>
          </a:p>
        </p:txBody>
      </p:sp>
      <p:sp>
        <p:nvSpPr>
          <p:cNvPr id="5" name="Місце для нотаток 4"/>
          <p:cNvSpPr>
            <a:spLocks noGrp="1"/>
          </p:cNvSpPr>
          <p:nvPr>
            <p:ph type="body" sz="quarter" idx="3"/>
          </p:nvPr>
        </p:nvSpPr>
        <p:spPr>
          <a:xfrm>
            <a:off x="673577" y="4686502"/>
            <a:ext cx="5388610" cy="4439841"/>
          </a:xfrm>
          <a:prstGeom prst="rect">
            <a:avLst/>
          </a:prstGeom>
        </p:spPr>
        <p:txBody>
          <a:bodyPr vert="horz" lIns="91350" tIns="45674" rIns="91350" bIns="45674" rtlCol="0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0" cy="493316"/>
          </a:xfrm>
          <a:prstGeom prst="rect">
            <a:avLst/>
          </a:prstGeom>
        </p:spPr>
        <p:txBody>
          <a:bodyPr vert="horz" lIns="91350" tIns="45674" rIns="91350" bIns="45674" rtlCol="0" anchor="b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5"/>
          </p:nvPr>
        </p:nvSpPr>
        <p:spPr>
          <a:xfrm>
            <a:off x="3815376" y="9371285"/>
            <a:ext cx="2918830" cy="493316"/>
          </a:xfrm>
          <a:prstGeom prst="rect">
            <a:avLst/>
          </a:prstGeom>
        </p:spPr>
        <p:txBody>
          <a:bodyPr vert="horz" lIns="91350" tIns="45674" rIns="91350" bIns="45674" rtlCol="0" anchor="b"/>
          <a:lstStyle>
            <a:lvl1pPr algn="r">
              <a:defRPr sz="1200"/>
            </a:lvl1pPr>
          </a:lstStyle>
          <a:p>
            <a:fld id="{384DF921-AA94-4CF6-885A-31F5B4AD922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9697468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4DF921-AA94-4CF6-885A-31F5B4AD9226}" type="slidenum">
              <a:rPr lang="uk-UA" smtClean="0"/>
              <a:pPr/>
              <a:t>1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588151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901700" y="741363"/>
            <a:ext cx="4932363" cy="3698875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152405-C691-1A48-84DD-19E45A3555FC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56138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ображення 1"/>
          <p:cNvSpPr>
            <a:spLocks noGrp="1" noRot="1" noChangeAspect="1"/>
          </p:cNvSpPr>
          <p:nvPr>
            <p:ph type="sldImg"/>
          </p:nvPr>
        </p:nvSpPr>
        <p:spPr>
          <a:xfrm>
            <a:off x="901700" y="741363"/>
            <a:ext cx="4932363" cy="3698875"/>
          </a:xfrm>
        </p:spPr>
      </p:sp>
      <p:sp>
        <p:nvSpPr>
          <p:cNvPr id="3" name="Місце для нотаток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C152405-C691-1A48-84DD-19E45A3555FC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60378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84DF921-AA94-4CF6-885A-31F5B4AD9226}" type="slidenum">
              <a:rPr lang="uk-UA" smtClean="0"/>
              <a:pPr/>
              <a:t>1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5588151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Пі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uk-UA" smtClean="0"/>
              <a:t>Зразок підзаголовка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5FB565-3A0D-4EF0-9A9A-769CDF791F30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1170985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і вертикальн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75185-25CB-4515-81F1-4AF8684B6FE4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088586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ий заголовок і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и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ертикального тексту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0625DB-582D-48DE-ADAA-EF25A473FF37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2818116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і об'є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BE6C17-9786-4560-A8B3-893AE3B22DDF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7954885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озділ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D13063-55C4-4037-9C00-786B9A24D960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1929794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'єкт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DFF933-2EDB-4C92-B12F-F2BF1FDADC51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3079431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Порівнянн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4" name="Місце для вмісту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5" name="Місце для тексту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6" name="Місце для вмісту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7" name="Місце для дати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A6EF24-21D1-4E4D-9B7E-48A0CB95545D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8" name="Місце для нижнього колонтитула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9" name="Місце для номера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911220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Лише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21BA8C-689C-47DC-B12D-7807567AC055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965732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и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дати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A22BA6-4249-4E3C-89AD-DB5C3ACBA8A9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3" name="Місце для нижнього колонтитула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726130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Вміст і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вмісту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BD5FC3-D5FC-494D-A2D4-C62741442330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4735160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Зображення з підпис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зображення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uk-UA" dirty="0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uk-UA" smtClean="0"/>
              <a:t>Зразок тексту</a:t>
            </a:r>
          </a:p>
        </p:txBody>
      </p:sp>
      <p:sp>
        <p:nvSpPr>
          <p:cNvPr id="5" name="Місце для дати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4B94B1-85EE-4951-B69B-F465B58BAFBA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6" name="Місце для нижнього колонтитула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7" name="Місце для номера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289174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  <a:alpha val="3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заголовка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uk-UA" smtClean="0"/>
              <a:t>Зразок заголовка</a:t>
            </a:r>
            <a:endParaRPr lang="uk-UA"/>
          </a:p>
        </p:txBody>
      </p:sp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uk-UA" smtClean="0"/>
              <a:t>Зразок тексту</a:t>
            </a:r>
          </a:p>
          <a:p>
            <a:pPr lvl="1"/>
            <a:r>
              <a:rPr lang="uk-UA" smtClean="0"/>
              <a:t>Другий рівень</a:t>
            </a:r>
          </a:p>
          <a:p>
            <a:pPr lvl="2"/>
            <a:r>
              <a:rPr lang="uk-UA" smtClean="0"/>
              <a:t>Третій рівень</a:t>
            </a:r>
          </a:p>
          <a:p>
            <a:pPr lvl="3"/>
            <a:r>
              <a:rPr lang="uk-UA" smtClean="0"/>
              <a:t>Четвертий рівень</a:t>
            </a:r>
          </a:p>
          <a:p>
            <a:pPr lvl="4"/>
            <a:r>
              <a:rPr lang="uk-UA" smtClean="0"/>
              <a:t>П'ятий рівень</a:t>
            </a:r>
            <a:endParaRPr lang="uk-UA"/>
          </a:p>
        </p:txBody>
      </p:sp>
      <p:sp>
        <p:nvSpPr>
          <p:cNvPr id="4" name="Місце для дати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EBBEEC9-22FD-4C5F-850F-368B587117FC}" type="datetime1">
              <a:rPr lang="uk-UA" smtClean="0"/>
              <a:pPr/>
              <a:t>04.04.2017</a:t>
            </a:fld>
            <a:endParaRPr lang="uk-UA" dirty="0"/>
          </a:p>
        </p:txBody>
      </p:sp>
      <p:sp>
        <p:nvSpPr>
          <p:cNvPr id="5" name="Місце для нижнього колонтитула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uk-UA" dirty="0"/>
          </a:p>
        </p:txBody>
      </p:sp>
      <p:sp>
        <p:nvSpPr>
          <p:cNvPr id="6" name="Місце для номера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007140-6995-4AB9-AB6F-66370758DCF6}" type="slidenum">
              <a:rPr lang="uk-UA" smtClean="0"/>
              <a:pPr/>
              <a:t>‹№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32540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uk-UA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Relationship Id="rId5" Type="http://schemas.openxmlformats.org/officeDocument/2006/relationships/chart" Target="../charts/chart3.xml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10"/>
          <p:cNvPicPr>
            <a:picLocks noChangeAspect="1"/>
          </p:cNvPicPr>
          <p:nvPr/>
        </p:nvPicPr>
        <p:blipFill>
          <a:blip r:embed="rId4" cstate="print"/>
          <a:srcRect b="12531"/>
          <a:stretch>
            <a:fillRect/>
          </a:stretch>
        </p:blipFill>
        <p:spPr bwMode="auto">
          <a:xfrm>
            <a:off x="55937" y="3594374"/>
            <a:ext cx="9097962" cy="328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0"/>
            <a:ext cx="108069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кругленный прямоугольник 4"/>
          <p:cNvSpPr/>
          <p:nvPr/>
        </p:nvSpPr>
        <p:spPr>
          <a:xfrm>
            <a:off x="1161986" y="116632"/>
            <a:ext cx="7344110" cy="574675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0361" tIns="60361" rIns="60361" bIns="60361" anchor="ctr"/>
          <a:lstStyle/>
          <a:p>
            <a:pPr algn="ctr" defTabSz="703263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  <a:t>МІНІСТЕРСТВО РЕГІОНАЛЬНОГО РОЗВИТКУ, БУДІВНИЦТВА </a:t>
            </a:r>
            <a:b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</a:br>
            <a: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  <a:t>ТА ЖИТЛОВО-КОМУНАЛЬНОГО ГОСПОДАРСТВА УКРАЇНИ</a:t>
            </a:r>
          </a:p>
        </p:txBody>
      </p:sp>
      <p:pic>
        <p:nvPicPr>
          <p:cNvPr id="8" name="Рисунок 12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80049" y="4941168"/>
            <a:ext cx="6673850" cy="191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1</a:t>
            </a:fld>
            <a:endParaRPr lang="uk-UA" dirty="0"/>
          </a:p>
        </p:txBody>
      </p:sp>
      <p:sp>
        <p:nvSpPr>
          <p:cNvPr id="10" name="Прямокутник 1"/>
          <p:cNvSpPr/>
          <p:nvPr/>
        </p:nvSpPr>
        <p:spPr>
          <a:xfrm>
            <a:off x="1230653" y="2088629"/>
            <a:ext cx="734481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ержавний фонд регіонального розвитку, як </a:t>
            </a:r>
            <a:r>
              <a:rPr lang="uk-UA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алий інструмент </a:t>
            </a:r>
            <a:r>
              <a:rPr lang="uk-UA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регіонального розвитку</a:t>
            </a:r>
            <a:endParaRPr lang="uk-UA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5478816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КРИТЕР</a:t>
            </a: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ІЇ ОЦІНЮВАННЯ ПРОЕКТІВ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-304800" y="381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7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22842"/>
            <a:ext cx="623914" cy="831885"/>
          </a:xfrm>
          <a:prstGeom prst="rect">
            <a:avLst/>
          </a:prstGeom>
        </p:spPr>
      </p:pic>
      <p:sp>
        <p:nvSpPr>
          <p:cNvPr id="98" name="Прямоугольник 2"/>
          <p:cNvSpPr/>
          <p:nvPr/>
        </p:nvSpPr>
        <p:spPr>
          <a:xfrm flipV="1">
            <a:off x="420620" y="977588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кутник 17"/>
          <p:cNvSpPr/>
          <p:nvPr/>
        </p:nvSpPr>
        <p:spPr>
          <a:xfrm>
            <a:off x="188349" y="2424953"/>
            <a:ext cx="398161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uk-UA" sz="1300" strike="sngStrike" dirty="0">
              <a:solidFill>
                <a:srgbClr val="000000"/>
              </a:solidFill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405615" y="1023307"/>
            <a:ext cx="8400386" cy="5514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uk-UA" sz="1000" b="1" i="1" u="sng" dirty="0" smtClean="0">
              <a:solidFill>
                <a:srgbClr val="0070C0"/>
              </a:solidFill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2000" b="1" i="1" u="sng" dirty="0" smtClean="0">
                <a:solidFill>
                  <a:srgbClr val="0070C0"/>
                </a:solidFill>
              </a:rPr>
              <a:t>Територія охоплення </a:t>
            </a:r>
            <a:r>
              <a:rPr lang="uk-UA" sz="2000" i="1" u="sng" dirty="0" smtClean="0">
                <a:solidFill>
                  <a:srgbClr val="0070C0"/>
                </a:solidFill>
              </a:rPr>
              <a:t>вирішення проблеми 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5 балів </a:t>
            </a:r>
            <a:r>
              <a:rPr lang="uk-UA" i="1" dirty="0" smtClean="0"/>
              <a:t>- </a:t>
            </a:r>
            <a:r>
              <a:rPr lang="uk-UA" dirty="0" smtClean="0"/>
              <a:t>одна громада або до 5 % мешканців  для ОТГ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10 балів </a:t>
            </a:r>
            <a:r>
              <a:rPr lang="uk-UA" i="1" dirty="0" smtClean="0"/>
              <a:t>- </a:t>
            </a:r>
            <a:r>
              <a:rPr lang="uk-UA" dirty="0" smtClean="0"/>
              <a:t>кілька громад/район або від 5 до 20 % мешканців</a:t>
            </a:r>
            <a:r>
              <a:rPr lang="en-US" dirty="0" smtClean="0"/>
              <a:t> </a:t>
            </a:r>
            <a:r>
              <a:rPr lang="uk-UA" dirty="0"/>
              <a:t>для ОТГ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15 балів </a:t>
            </a:r>
            <a:r>
              <a:rPr lang="uk-UA" i="1" dirty="0" smtClean="0"/>
              <a:t>- </a:t>
            </a:r>
            <a:r>
              <a:rPr lang="uk-UA" dirty="0"/>
              <a:t>кілька районів </a:t>
            </a:r>
            <a:r>
              <a:rPr lang="uk-UA" dirty="0" smtClean="0"/>
              <a:t>області або від 20 до 50 % мешканців</a:t>
            </a:r>
            <a:r>
              <a:rPr lang="en-US" dirty="0" smtClean="0"/>
              <a:t> </a:t>
            </a:r>
            <a:r>
              <a:rPr lang="uk-UA" dirty="0"/>
              <a:t>для ОТГ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20 балів </a:t>
            </a:r>
            <a:r>
              <a:rPr lang="uk-UA" i="1" dirty="0" smtClean="0"/>
              <a:t>- </a:t>
            </a:r>
            <a:r>
              <a:rPr lang="uk-UA" dirty="0" smtClean="0"/>
              <a:t>вся </a:t>
            </a:r>
            <a:r>
              <a:rPr lang="uk-UA" dirty="0"/>
              <a:t>область</a:t>
            </a:r>
            <a:r>
              <a:rPr lang="uk-UA" i="1" dirty="0" smtClean="0"/>
              <a:t> або від 50 до 100 % мешканців</a:t>
            </a:r>
            <a:r>
              <a:rPr lang="en-US" i="1" dirty="0" smtClean="0"/>
              <a:t> </a:t>
            </a:r>
            <a:r>
              <a:rPr lang="uk-UA" dirty="0"/>
              <a:t>для ОТГ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2000" b="1" i="1" u="sng" dirty="0" smtClean="0">
                <a:solidFill>
                  <a:srgbClr val="0070C0"/>
                </a:solidFill>
              </a:rPr>
              <a:t>Вплив проекту на вирішення проблеми</a:t>
            </a:r>
            <a:r>
              <a:rPr lang="uk-UA" sz="2000" i="1" u="sng" dirty="0" smtClean="0">
                <a:solidFill>
                  <a:srgbClr val="0070C0"/>
                </a:solidFill>
              </a:rPr>
              <a:t>, 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5 </a:t>
            </a:r>
            <a:r>
              <a:rPr lang="uk-UA" b="1" i="1" dirty="0"/>
              <a:t>балів </a:t>
            </a:r>
            <a:r>
              <a:rPr lang="uk-UA" i="1" dirty="0" smtClean="0"/>
              <a:t>– </a:t>
            </a:r>
            <a:r>
              <a:rPr lang="uk-UA" dirty="0" smtClean="0"/>
              <a:t>опосередкований вплив </a:t>
            </a:r>
            <a:endParaRPr lang="uk-UA" dirty="0"/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/>
              <a:t>10 балів </a:t>
            </a:r>
            <a:r>
              <a:rPr lang="uk-UA" i="1" dirty="0" smtClean="0"/>
              <a:t>– </a:t>
            </a:r>
            <a:r>
              <a:rPr lang="uk-UA" dirty="0" smtClean="0"/>
              <a:t>незначний прямий вплив</a:t>
            </a:r>
            <a:endParaRPr lang="uk-UA" dirty="0"/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/>
              <a:t>15 балів </a:t>
            </a:r>
            <a:r>
              <a:rPr lang="uk-UA" i="1" dirty="0" smtClean="0"/>
              <a:t>– </a:t>
            </a:r>
            <a:r>
              <a:rPr lang="uk-UA" dirty="0" smtClean="0"/>
              <a:t>частково вирішує 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20 </a:t>
            </a:r>
            <a:r>
              <a:rPr lang="uk-UA" b="1" i="1" dirty="0"/>
              <a:t>балів </a:t>
            </a:r>
            <a:r>
              <a:rPr lang="uk-UA" i="1" dirty="0" smtClean="0"/>
              <a:t>– </a:t>
            </a:r>
            <a:r>
              <a:rPr lang="uk-UA" dirty="0" smtClean="0"/>
              <a:t>повністю вирішує </a:t>
            </a:r>
            <a:endParaRPr lang="uk-UA" i="1" dirty="0"/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2000" b="1" i="1" u="sng" dirty="0" err="1" smtClean="0">
                <a:solidFill>
                  <a:srgbClr val="0070C0"/>
                </a:solidFill>
              </a:rPr>
              <a:t>Інноваційність</a:t>
            </a:r>
            <a:r>
              <a:rPr lang="uk-UA" sz="2000" b="1" i="1" u="sng" dirty="0" smtClean="0">
                <a:solidFill>
                  <a:srgbClr val="0070C0"/>
                </a:solidFill>
              </a:rPr>
              <a:t> </a:t>
            </a:r>
            <a:r>
              <a:rPr lang="uk-UA" sz="2000" b="1" i="1" u="sng" dirty="0">
                <a:solidFill>
                  <a:srgbClr val="0070C0"/>
                </a:solidFill>
              </a:rPr>
              <a:t>проекту.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5 балів </a:t>
            </a:r>
            <a:r>
              <a:rPr lang="uk-UA" i="1" dirty="0" smtClean="0"/>
              <a:t>– </a:t>
            </a:r>
            <a:r>
              <a:rPr lang="uk-UA" dirty="0" smtClean="0"/>
              <a:t>застосовуються традиційні підходи (технології)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10 </a:t>
            </a:r>
            <a:r>
              <a:rPr lang="uk-UA" b="1" i="1" dirty="0"/>
              <a:t>балів </a:t>
            </a:r>
            <a:r>
              <a:rPr lang="uk-UA" i="1" dirty="0"/>
              <a:t>– </a:t>
            </a:r>
            <a:r>
              <a:rPr lang="uk-UA" dirty="0"/>
              <a:t>підходи (технології</a:t>
            </a:r>
            <a:r>
              <a:rPr lang="uk-UA" dirty="0" smtClean="0"/>
              <a:t>) мають </a:t>
            </a:r>
            <a:r>
              <a:rPr lang="uk-UA" dirty="0"/>
              <a:t>аналоги в Україні, але відсутні в </a:t>
            </a:r>
            <a:r>
              <a:rPr lang="uk-UA" dirty="0" smtClean="0"/>
              <a:t>регіоні</a:t>
            </a:r>
          </a:p>
          <a:p>
            <a:pPr marL="354013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 smtClean="0"/>
              <a:t>15 </a:t>
            </a:r>
            <a:r>
              <a:rPr lang="uk-UA" b="1" i="1" dirty="0"/>
              <a:t>балів </a:t>
            </a:r>
            <a:r>
              <a:rPr lang="uk-UA" i="1" dirty="0"/>
              <a:t>– </a:t>
            </a:r>
            <a:r>
              <a:rPr lang="uk-UA" dirty="0"/>
              <a:t>підходи (технології) </a:t>
            </a:r>
            <a:r>
              <a:rPr lang="uk-UA" dirty="0" smtClean="0"/>
              <a:t>не </a:t>
            </a:r>
            <a:r>
              <a:rPr lang="uk-UA" dirty="0"/>
              <a:t>мають аналогів в Україні</a:t>
            </a:r>
          </a:p>
          <a:p>
            <a:pPr marL="1439863" indent="-1085850" algn="just">
              <a:spcBef>
                <a:spcPts val="200"/>
              </a:spcBef>
              <a:spcAft>
                <a:spcPts val="200"/>
              </a:spcAft>
            </a:pPr>
            <a:r>
              <a:rPr lang="uk-UA" b="1" i="1" dirty="0"/>
              <a:t>20 балів </a:t>
            </a:r>
            <a:r>
              <a:rPr lang="uk-UA" i="1" dirty="0"/>
              <a:t>– </a:t>
            </a:r>
            <a:r>
              <a:rPr lang="uk-UA" dirty="0"/>
              <a:t>відкриває </a:t>
            </a:r>
            <a:r>
              <a:rPr lang="uk-UA" dirty="0" smtClean="0"/>
              <a:t>можливості </a:t>
            </a:r>
            <a:r>
              <a:rPr lang="uk-UA" dirty="0"/>
              <a:t>для регіонального розвитку, створює «точки зростання» громади (регіону) у найближчій </a:t>
            </a:r>
            <a:r>
              <a:rPr lang="uk-UA" dirty="0" smtClean="0"/>
              <a:t>перспективі</a:t>
            </a:r>
            <a:endParaRPr lang="uk-UA" sz="2000" b="1" i="1" dirty="0" smtClean="0"/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8693224" y="6597352"/>
            <a:ext cx="4507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uk-UA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dirty="0" smtClean="0"/>
              <a:t>8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6437991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КРИТЕР</a:t>
            </a: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ІЇ ОЦІНЮВАННЯ ПРОЕКТІВ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-304800" y="381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7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22842"/>
            <a:ext cx="623914" cy="831885"/>
          </a:xfrm>
          <a:prstGeom prst="rect">
            <a:avLst/>
          </a:prstGeom>
        </p:spPr>
      </p:pic>
      <p:sp>
        <p:nvSpPr>
          <p:cNvPr id="98" name="Прямоугольник 2"/>
          <p:cNvSpPr/>
          <p:nvPr/>
        </p:nvSpPr>
        <p:spPr>
          <a:xfrm flipV="1">
            <a:off x="420620" y="953567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кутник 17"/>
          <p:cNvSpPr/>
          <p:nvPr/>
        </p:nvSpPr>
        <p:spPr>
          <a:xfrm>
            <a:off x="188349" y="2424953"/>
            <a:ext cx="398161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uk-UA" sz="1300" strike="sngStrike" dirty="0">
              <a:solidFill>
                <a:srgbClr val="000000"/>
              </a:solidFill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405615" y="1023307"/>
            <a:ext cx="8400386" cy="47089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uk-UA" sz="2000" b="1" i="1" u="sng" dirty="0" smtClean="0">
                <a:solidFill>
                  <a:srgbClr val="0070C0"/>
                </a:solidFill>
              </a:rPr>
              <a:t>Соціально-економічні </a:t>
            </a:r>
            <a:r>
              <a:rPr lang="uk-UA" sz="2000" b="1" i="1" u="sng" dirty="0">
                <a:solidFill>
                  <a:srgbClr val="0070C0"/>
                </a:solidFill>
              </a:rPr>
              <a:t>особливості </a:t>
            </a:r>
            <a:r>
              <a:rPr lang="uk-UA" sz="2000" b="1" i="1" u="sng" dirty="0" smtClean="0">
                <a:solidFill>
                  <a:srgbClr val="0070C0"/>
                </a:solidFill>
              </a:rPr>
              <a:t>проекту</a:t>
            </a:r>
          </a:p>
          <a:p>
            <a:pPr marL="354013">
              <a:spcBef>
                <a:spcPts val="600"/>
              </a:spcBef>
              <a:spcAft>
                <a:spcPts val="600"/>
              </a:spcAft>
            </a:pPr>
            <a:r>
              <a:rPr lang="uk-UA" sz="2000" b="1" i="1" dirty="0" smtClean="0"/>
              <a:t>5 </a:t>
            </a:r>
            <a:r>
              <a:rPr lang="uk-UA" sz="2000" b="1" i="1" dirty="0"/>
              <a:t>балів </a:t>
            </a:r>
            <a:r>
              <a:rPr lang="uk-UA" sz="2000" i="1" dirty="0"/>
              <a:t>- </a:t>
            </a:r>
            <a:r>
              <a:rPr lang="uk-UA" sz="2000" i="1" dirty="0" smtClean="0"/>
              <a:t> </a:t>
            </a:r>
            <a:r>
              <a:rPr lang="uk-UA" dirty="0" smtClean="0"/>
              <a:t>соціальний </a:t>
            </a:r>
            <a:r>
              <a:rPr lang="uk-UA" dirty="0"/>
              <a:t>(або екологічний) </a:t>
            </a:r>
            <a:r>
              <a:rPr lang="uk-UA" dirty="0" smtClean="0"/>
              <a:t>проект</a:t>
            </a:r>
          </a:p>
          <a:p>
            <a:pPr marL="1438275" indent="-1084263">
              <a:spcBef>
                <a:spcPts val="600"/>
              </a:spcBef>
              <a:spcAft>
                <a:spcPts val="600"/>
              </a:spcAft>
            </a:pPr>
            <a:r>
              <a:rPr lang="uk-UA" sz="2000" b="1" i="1" dirty="0" smtClean="0"/>
              <a:t>10 балів </a:t>
            </a:r>
            <a:r>
              <a:rPr lang="uk-UA" sz="2000" i="1" dirty="0"/>
              <a:t>- </a:t>
            </a:r>
            <a:r>
              <a:rPr lang="uk-UA" dirty="0" smtClean="0"/>
              <a:t>соціальний (або екологічний) проект зі створенням додаткових економічних </a:t>
            </a:r>
            <a:r>
              <a:rPr lang="ru-RU" dirty="0" smtClean="0"/>
              <a:t>благ</a:t>
            </a:r>
            <a:endParaRPr lang="uk-UA" dirty="0"/>
          </a:p>
          <a:p>
            <a:pPr marL="354013">
              <a:spcBef>
                <a:spcPts val="600"/>
              </a:spcBef>
              <a:spcAft>
                <a:spcPts val="600"/>
              </a:spcAft>
            </a:pPr>
            <a:r>
              <a:rPr lang="uk-UA" sz="2000" b="1" i="1" dirty="0"/>
              <a:t>15 балів </a:t>
            </a:r>
            <a:r>
              <a:rPr lang="uk-UA" sz="2000" i="1" dirty="0"/>
              <a:t>- </a:t>
            </a:r>
            <a:r>
              <a:rPr lang="uk-UA" dirty="0"/>
              <a:t>економічний проект із соціальною (або екологічною) складовою</a:t>
            </a:r>
          </a:p>
          <a:p>
            <a:pPr marL="354013">
              <a:spcBef>
                <a:spcPts val="600"/>
              </a:spcBef>
              <a:spcAft>
                <a:spcPts val="600"/>
              </a:spcAft>
            </a:pPr>
            <a:r>
              <a:rPr lang="uk-UA" sz="2000" b="1" i="1" dirty="0"/>
              <a:t>20 балів </a:t>
            </a:r>
            <a:r>
              <a:rPr lang="uk-UA" sz="2000" i="1" dirty="0"/>
              <a:t>- </a:t>
            </a:r>
            <a:r>
              <a:rPr lang="uk-UA" dirty="0"/>
              <a:t>економічний проект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uk-UA" sz="2000" b="1" i="1" u="sng" dirty="0" err="1" smtClean="0">
                <a:solidFill>
                  <a:srgbClr val="0070C0"/>
                </a:solidFill>
              </a:rPr>
              <a:t>Співфінансування</a:t>
            </a:r>
            <a:r>
              <a:rPr lang="uk-UA" sz="2000" b="1" i="1" u="sng" dirty="0" smtClean="0">
                <a:solidFill>
                  <a:srgbClr val="0070C0"/>
                </a:solidFill>
              </a:rPr>
              <a:t> з місцевих бюджетів</a:t>
            </a:r>
          </a:p>
          <a:p>
            <a:pPr marL="269875">
              <a:spcBef>
                <a:spcPts val="600"/>
              </a:spcBef>
              <a:spcAft>
                <a:spcPts val="600"/>
              </a:spcAft>
            </a:pPr>
            <a:r>
              <a:rPr lang="uk-UA" b="1" i="1" dirty="0" smtClean="0"/>
              <a:t>5 </a:t>
            </a:r>
            <a:r>
              <a:rPr lang="uk-UA" b="1" i="1" dirty="0"/>
              <a:t>балів </a:t>
            </a:r>
            <a:r>
              <a:rPr lang="uk-UA" i="1" dirty="0" smtClean="0"/>
              <a:t>–   понад 50% для спроможних бюджетів або понад 10 % для інших </a:t>
            </a:r>
          </a:p>
          <a:p>
            <a:pPr marL="269875">
              <a:spcBef>
                <a:spcPts val="600"/>
              </a:spcBef>
              <a:spcAft>
                <a:spcPts val="600"/>
              </a:spcAft>
            </a:pPr>
            <a:r>
              <a:rPr lang="uk-UA" b="1" i="1" dirty="0" smtClean="0"/>
              <a:t>10 </a:t>
            </a:r>
            <a:r>
              <a:rPr lang="uk-UA" b="1" i="1" dirty="0"/>
              <a:t>балів </a:t>
            </a:r>
            <a:r>
              <a:rPr lang="uk-UA" i="1" dirty="0" smtClean="0"/>
              <a:t>– </a:t>
            </a:r>
            <a:r>
              <a:rPr lang="uk-UA" i="1" dirty="0"/>
              <a:t>понад </a:t>
            </a:r>
            <a:r>
              <a:rPr lang="uk-UA" i="1" dirty="0" smtClean="0"/>
              <a:t>60</a:t>
            </a:r>
            <a:r>
              <a:rPr lang="uk-UA" i="1" dirty="0"/>
              <a:t>% для спроможних бюджетів або понад </a:t>
            </a:r>
            <a:r>
              <a:rPr lang="uk-UA" i="1" dirty="0" smtClean="0"/>
              <a:t>20 </a:t>
            </a:r>
            <a:r>
              <a:rPr lang="uk-UA" i="1" dirty="0"/>
              <a:t>% для </a:t>
            </a:r>
            <a:r>
              <a:rPr lang="uk-UA" i="1" dirty="0" smtClean="0"/>
              <a:t>інших</a:t>
            </a:r>
            <a:endParaRPr lang="uk-UA" i="1" dirty="0"/>
          </a:p>
          <a:p>
            <a:pPr marL="269875">
              <a:spcBef>
                <a:spcPts val="600"/>
              </a:spcBef>
              <a:spcAft>
                <a:spcPts val="600"/>
              </a:spcAft>
            </a:pPr>
            <a:r>
              <a:rPr lang="uk-UA" b="1" i="1" dirty="0" smtClean="0"/>
              <a:t>15 </a:t>
            </a:r>
            <a:r>
              <a:rPr lang="uk-UA" b="1" i="1" dirty="0"/>
              <a:t>балів </a:t>
            </a:r>
            <a:r>
              <a:rPr lang="uk-UA" i="1" dirty="0" smtClean="0"/>
              <a:t>– </a:t>
            </a:r>
            <a:r>
              <a:rPr lang="uk-UA" i="1" dirty="0"/>
              <a:t>понад </a:t>
            </a:r>
            <a:r>
              <a:rPr lang="uk-UA" i="1" dirty="0" smtClean="0"/>
              <a:t>70</a:t>
            </a:r>
            <a:r>
              <a:rPr lang="uk-UA" i="1" dirty="0"/>
              <a:t>% для спроможних бюджетів або понад </a:t>
            </a:r>
            <a:r>
              <a:rPr lang="uk-UA" i="1" dirty="0" smtClean="0"/>
              <a:t>30 </a:t>
            </a:r>
            <a:r>
              <a:rPr lang="uk-UA" i="1" dirty="0"/>
              <a:t>% для </a:t>
            </a:r>
            <a:r>
              <a:rPr lang="uk-UA" i="1" dirty="0" smtClean="0"/>
              <a:t>інших</a:t>
            </a:r>
            <a:endParaRPr lang="uk-UA" i="1" dirty="0"/>
          </a:p>
          <a:p>
            <a:pPr marL="269875">
              <a:spcBef>
                <a:spcPts val="600"/>
              </a:spcBef>
              <a:spcAft>
                <a:spcPts val="600"/>
              </a:spcAft>
            </a:pPr>
            <a:r>
              <a:rPr lang="uk-UA" b="1" i="1" dirty="0" smtClean="0"/>
              <a:t>20 балів </a:t>
            </a:r>
            <a:r>
              <a:rPr lang="uk-UA" i="1" dirty="0"/>
              <a:t>– понад </a:t>
            </a:r>
            <a:r>
              <a:rPr lang="uk-UA" i="1" dirty="0" smtClean="0"/>
              <a:t>80</a:t>
            </a:r>
            <a:r>
              <a:rPr lang="uk-UA" i="1" dirty="0"/>
              <a:t>% для спроможних бюджетів або понад </a:t>
            </a:r>
            <a:r>
              <a:rPr lang="uk-UA" i="1" dirty="0" smtClean="0"/>
              <a:t>40 </a:t>
            </a:r>
            <a:r>
              <a:rPr lang="uk-UA" i="1" dirty="0"/>
              <a:t>% для </a:t>
            </a:r>
            <a:r>
              <a:rPr lang="uk-UA" i="1" dirty="0" smtClean="0"/>
              <a:t>інших</a:t>
            </a:r>
            <a:endParaRPr lang="uk-UA" sz="1300" dirty="0" smtClean="0"/>
          </a:p>
        </p:txBody>
      </p:sp>
      <p:sp>
        <p:nvSpPr>
          <p:cNvPr id="9" name="Номер слайда 3"/>
          <p:cNvSpPr txBox="1">
            <a:spLocks/>
          </p:cNvSpPr>
          <p:nvPr/>
        </p:nvSpPr>
        <p:spPr>
          <a:xfrm>
            <a:off x="8693224" y="6597352"/>
            <a:ext cx="4507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uk-UA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dirty="0" smtClean="0"/>
              <a:t>9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7474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12</a:t>
            </a:fld>
            <a:endParaRPr lang="uk-UA" dirty="0"/>
          </a:p>
        </p:txBody>
      </p:sp>
      <p:sp>
        <p:nvSpPr>
          <p:cNvPr id="5" name="Rectangle 3"/>
          <p:cNvSpPr txBox="1">
            <a:spLocks noChangeArrowheads="1"/>
          </p:cNvSpPr>
          <p:nvPr/>
        </p:nvSpPr>
        <p:spPr>
          <a:xfrm>
            <a:off x="918977" y="124880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ПОДАННЯ ПРОЕКТУ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6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0"/>
            <a:ext cx="623914" cy="831885"/>
          </a:xfrm>
          <a:prstGeom prst="rect">
            <a:avLst/>
          </a:prstGeom>
        </p:spPr>
      </p:pic>
      <p:sp>
        <p:nvSpPr>
          <p:cNvPr id="7" name="Прямоугольник 2"/>
          <p:cNvSpPr/>
          <p:nvPr/>
        </p:nvSpPr>
        <p:spPr>
          <a:xfrm flipV="1">
            <a:off x="324873" y="759774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кутник 7"/>
          <p:cNvSpPr/>
          <p:nvPr/>
        </p:nvSpPr>
        <p:spPr>
          <a:xfrm>
            <a:off x="169552" y="840017"/>
            <a:ext cx="8794936" cy="56015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2000" b="1" u="sng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ДОКУМЕНТИ</a:t>
            </a:r>
            <a:r>
              <a:rPr lang="uk-UA" sz="1600" b="1" dirty="0" smtClean="0">
                <a:solidFill>
                  <a:schemeClr val="tx2">
                    <a:lumMod val="60000"/>
                    <a:lumOff val="40000"/>
                  </a:schemeClr>
                </a:solidFill>
              </a:rPr>
              <a:t>, ЯКІ ПОДАЮТЬСЯ РЕГІОНАЛЬНІЙ КОМІСІЇ ДЛЯ УЧАСТІ У КОНКУРСНОМУ ВІДБОРІ</a:t>
            </a:r>
          </a:p>
          <a:p>
            <a:pPr algn="ctr"/>
            <a:endParaRPr lang="uk-UA" sz="1000" dirty="0">
              <a:solidFill>
                <a:srgbClr val="002060"/>
              </a:solidFill>
            </a:endParaRPr>
          </a:p>
          <a:p>
            <a:endParaRPr lang="uk-UA" dirty="0">
              <a:solidFill>
                <a:srgbClr val="002060"/>
              </a:solidFill>
            </a:endParaRPr>
          </a:p>
          <a:p>
            <a:endParaRPr lang="uk-UA" dirty="0" smtClean="0">
              <a:solidFill>
                <a:srgbClr val="002060"/>
              </a:solidFill>
            </a:endParaRPr>
          </a:p>
          <a:p>
            <a:endParaRPr lang="uk-UA" dirty="0" smtClean="0">
              <a:solidFill>
                <a:srgbClr val="002060"/>
              </a:solidFill>
            </a:endParaRPr>
          </a:p>
          <a:p>
            <a:endParaRPr lang="uk-UA" sz="800" dirty="0" smtClean="0">
              <a:solidFill>
                <a:srgbClr val="002060"/>
              </a:solidFill>
            </a:endParaRPr>
          </a:p>
          <a:p>
            <a:endParaRPr lang="uk-UA" dirty="0">
              <a:solidFill>
                <a:srgbClr val="002060"/>
              </a:solidFill>
            </a:endParaRPr>
          </a:p>
          <a:p>
            <a:endParaRPr lang="uk-UA" sz="800" dirty="0" smtClean="0">
              <a:solidFill>
                <a:srgbClr val="002060"/>
              </a:solidFill>
            </a:endParaRPr>
          </a:p>
          <a:p>
            <a:endParaRPr lang="uk-UA" sz="800" dirty="0">
              <a:solidFill>
                <a:srgbClr val="002060"/>
              </a:solidFill>
            </a:endParaRPr>
          </a:p>
          <a:p>
            <a:endParaRPr lang="uk-UA" sz="800" dirty="0" smtClean="0">
              <a:solidFill>
                <a:srgbClr val="002060"/>
              </a:solidFill>
            </a:endParaRPr>
          </a:p>
          <a:p>
            <a:endParaRPr lang="uk-UA" sz="800" dirty="0">
              <a:solidFill>
                <a:srgbClr val="002060"/>
              </a:solidFill>
            </a:endParaRPr>
          </a:p>
          <a:p>
            <a:endParaRPr lang="uk-UA" sz="800" dirty="0" smtClean="0">
              <a:solidFill>
                <a:srgbClr val="002060"/>
              </a:solidFill>
            </a:endParaRPr>
          </a:p>
          <a:p>
            <a:endParaRPr lang="uk-UA" sz="800" dirty="0">
              <a:solidFill>
                <a:srgbClr val="002060"/>
              </a:solidFill>
            </a:endParaRPr>
          </a:p>
          <a:p>
            <a:endParaRPr lang="uk-UA" sz="800" dirty="0" smtClean="0">
              <a:solidFill>
                <a:srgbClr val="002060"/>
              </a:solidFill>
            </a:endParaRPr>
          </a:p>
          <a:p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pPr algn="just"/>
            <a:endParaRPr lang="uk-UA" sz="800" dirty="0" smtClean="0">
              <a:solidFill>
                <a:srgbClr val="002060"/>
              </a:solidFill>
            </a:endParaRPr>
          </a:p>
          <a:p>
            <a:endParaRPr lang="uk-UA" sz="1600" dirty="0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875435" y="1237097"/>
            <a:ext cx="8017046" cy="64213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uk-UA" b="1" dirty="0" smtClean="0">
                <a:solidFill>
                  <a:srgbClr val="002060"/>
                </a:solidFill>
              </a:rPr>
              <a:t>1. Інвестиційний </a:t>
            </a:r>
            <a:r>
              <a:rPr lang="uk-UA" b="1" dirty="0">
                <a:solidFill>
                  <a:srgbClr val="002060"/>
                </a:solidFill>
              </a:rPr>
              <a:t>проект</a:t>
            </a:r>
            <a:r>
              <a:rPr lang="uk-UA" dirty="0">
                <a:solidFill>
                  <a:srgbClr val="002060"/>
                </a:solidFill>
              </a:rPr>
              <a:t> </a:t>
            </a:r>
            <a:r>
              <a:rPr lang="uk-UA" i="1" dirty="0">
                <a:solidFill>
                  <a:srgbClr val="002060"/>
                </a:solidFill>
              </a:rPr>
              <a:t>в електронній формі </a:t>
            </a:r>
            <a:r>
              <a:rPr lang="uk-UA" dirty="0">
                <a:solidFill>
                  <a:srgbClr val="002060"/>
                </a:solidFill>
              </a:rPr>
              <a:t>на он-лайн платформі </a:t>
            </a:r>
            <a:r>
              <a:rPr lang="en-US" dirty="0">
                <a:solidFill>
                  <a:srgbClr val="002060"/>
                </a:solidFill>
              </a:rPr>
              <a:t>dfrr.minregion.gov.ua</a:t>
            </a:r>
            <a:endParaRPr lang="uk-UA" dirty="0"/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875434" y="1931038"/>
            <a:ext cx="8089054" cy="148987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uk-UA" b="1" dirty="0" smtClean="0">
                <a:solidFill>
                  <a:srgbClr val="002060"/>
                </a:solidFill>
              </a:rPr>
              <a:t>2. </a:t>
            </a:r>
            <a:r>
              <a:rPr lang="uk-UA" dirty="0">
                <a:solidFill>
                  <a:srgbClr val="002060"/>
                </a:solidFill>
              </a:rPr>
              <a:t>Для проектів </a:t>
            </a:r>
            <a:r>
              <a:rPr lang="uk-UA" b="1" dirty="0" smtClean="0">
                <a:solidFill>
                  <a:srgbClr val="002060"/>
                </a:solidFill>
              </a:rPr>
              <a:t>будівництва:</a:t>
            </a:r>
            <a:r>
              <a:rPr lang="uk-UA" dirty="0" smtClean="0">
                <a:solidFill>
                  <a:srgbClr val="002060"/>
                </a:solidFill>
              </a:rPr>
              <a:t> </a:t>
            </a:r>
            <a:r>
              <a:rPr lang="uk-UA" sz="1600" dirty="0">
                <a:solidFill>
                  <a:srgbClr val="002060"/>
                </a:solidFill>
              </a:rPr>
              <a:t>- зведений кошторисний розрахунок;</a:t>
            </a:r>
          </a:p>
          <a:p>
            <a:r>
              <a:rPr lang="uk-UA" sz="1600" dirty="0">
                <a:solidFill>
                  <a:srgbClr val="002060"/>
                </a:solidFill>
              </a:rPr>
              <a:t>			</a:t>
            </a:r>
            <a:r>
              <a:rPr lang="uk-UA" sz="1600" dirty="0" smtClean="0">
                <a:solidFill>
                  <a:srgbClr val="002060"/>
                </a:solidFill>
              </a:rPr>
              <a:t>   - </a:t>
            </a:r>
            <a:r>
              <a:rPr lang="uk-UA" sz="1600" dirty="0">
                <a:solidFill>
                  <a:srgbClr val="002060"/>
                </a:solidFill>
              </a:rPr>
              <a:t>звіт за результатами експертизи проекту </a:t>
            </a:r>
            <a:r>
              <a:rPr lang="uk-UA" sz="1600" dirty="0" smtClean="0">
                <a:solidFill>
                  <a:srgbClr val="002060"/>
                </a:solidFill>
              </a:rPr>
              <a:t>   				      будівництва</a:t>
            </a:r>
            <a:r>
              <a:rPr lang="uk-UA" sz="1600" dirty="0">
                <a:solidFill>
                  <a:srgbClr val="002060"/>
                </a:solidFill>
              </a:rPr>
              <a:t>;</a:t>
            </a:r>
          </a:p>
          <a:p>
            <a:r>
              <a:rPr lang="uk-UA" sz="1600" dirty="0">
                <a:solidFill>
                  <a:srgbClr val="002060"/>
                </a:solidFill>
              </a:rPr>
              <a:t>			</a:t>
            </a:r>
            <a:r>
              <a:rPr lang="uk-UA" sz="1600" dirty="0" smtClean="0">
                <a:solidFill>
                  <a:srgbClr val="002060"/>
                </a:solidFill>
              </a:rPr>
              <a:t>   - </a:t>
            </a:r>
            <a:r>
              <a:rPr lang="uk-UA" sz="1600" dirty="0">
                <a:solidFill>
                  <a:srgbClr val="002060"/>
                </a:solidFill>
              </a:rPr>
              <a:t>акт (наказ, розпорядження, рішення) про </a:t>
            </a:r>
            <a:r>
              <a:rPr lang="uk-UA" sz="1600" dirty="0" smtClean="0">
                <a:solidFill>
                  <a:srgbClr val="002060"/>
                </a:solidFill>
              </a:rPr>
              <a:t>				      затвердження  проектної </a:t>
            </a:r>
            <a:r>
              <a:rPr lang="uk-UA" sz="1600" dirty="0">
                <a:solidFill>
                  <a:srgbClr val="002060"/>
                </a:solidFill>
              </a:rPr>
              <a:t>документації;</a:t>
            </a:r>
          </a:p>
          <a:p>
            <a:r>
              <a:rPr lang="uk-UA" sz="1600" dirty="0">
                <a:solidFill>
                  <a:srgbClr val="002060"/>
                </a:solidFill>
              </a:rPr>
              <a:t>			</a:t>
            </a:r>
            <a:r>
              <a:rPr lang="uk-UA" sz="1600" dirty="0" smtClean="0">
                <a:solidFill>
                  <a:srgbClr val="002060"/>
                </a:solidFill>
              </a:rPr>
              <a:t>   - </a:t>
            </a:r>
            <a:r>
              <a:rPr lang="uk-UA" sz="1600" dirty="0">
                <a:solidFill>
                  <a:srgbClr val="002060"/>
                </a:solidFill>
              </a:rPr>
              <a:t>документи щодо форми власності та класу наслідків</a:t>
            </a:r>
            <a:r>
              <a:rPr lang="uk-UA" sz="1600" dirty="0" smtClean="0">
                <a:solidFill>
                  <a:srgbClr val="002060"/>
                </a:solidFill>
              </a:rPr>
              <a:t>.</a:t>
            </a:r>
            <a:endParaRPr lang="uk-UA" sz="1600" dirty="0">
              <a:solidFill>
                <a:srgbClr val="002060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875434" y="3475843"/>
            <a:ext cx="8089054" cy="922926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uk-UA" b="1" dirty="0" smtClean="0">
                <a:solidFill>
                  <a:srgbClr val="002060"/>
                </a:solidFill>
              </a:rPr>
              <a:t>3. </a:t>
            </a:r>
            <a:r>
              <a:rPr lang="uk-UA" dirty="0">
                <a:solidFill>
                  <a:srgbClr val="002060"/>
                </a:solidFill>
              </a:rPr>
              <a:t>Для проектів </a:t>
            </a:r>
            <a:r>
              <a:rPr lang="uk-UA" b="1" dirty="0">
                <a:solidFill>
                  <a:srgbClr val="002060"/>
                </a:solidFill>
              </a:rPr>
              <a:t>співробітництва територіальних громад</a:t>
            </a:r>
            <a:r>
              <a:rPr lang="uk-UA" dirty="0">
                <a:solidFill>
                  <a:srgbClr val="002060"/>
                </a:solidFill>
              </a:rPr>
              <a:t> – копії договорів про співробітництво відповідно до Закону України «Про співробітництво територіальних громад».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875433" y="4482253"/>
            <a:ext cx="8102063" cy="851943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uk-UA" b="1" dirty="0" smtClean="0">
                <a:solidFill>
                  <a:srgbClr val="002060"/>
                </a:solidFill>
              </a:rPr>
              <a:t>4. </a:t>
            </a:r>
            <a:r>
              <a:rPr lang="uk-UA" dirty="0">
                <a:solidFill>
                  <a:srgbClr val="002060"/>
                </a:solidFill>
              </a:rPr>
              <a:t>Для проектів підтримки </a:t>
            </a:r>
            <a:r>
              <a:rPr lang="uk-UA" b="1" dirty="0">
                <a:solidFill>
                  <a:srgbClr val="002060"/>
                </a:solidFill>
              </a:rPr>
              <a:t>добровільно об’єднаних територіальних громад </a:t>
            </a:r>
            <a:r>
              <a:rPr lang="uk-UA" dirty="0">
                <a:solidFill>
                  <a:srgbClr val="002060"/>
                </a:solidFill>
              </a:rPr>
              <a:t>– копії рішень про утворення об'єднаної територіальної громади</a:t>
            </a:r>
            <a:r>
              <a:rPr lang="uk-UA" dirty="0" smtClean="0">
                <a:solidFill>
                  <a:srgbClr val="002060"/>
                </a:solidFill>
              </a:rPr>
              <a:t>.</a:t>
            </a:r>
            <a:endParaRPr lang="uk-UA" dirty="0">
              <a:solidFill>
                <a:srgbClr val="002060"/>
              </a:solidFill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900966" y="5426500"/>
            <a:ext cx="8107056" cy="831417"/>
          </a:xfrm>
          <a:prstGeom prst="round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uk-UA" b="1" dirty="0">
                <a:solidFill>
                  <a:srgbClr val="002060"/>
                </a:solidFill>
              </a:rPr>
              <a:t>5. </a:t>
            </a:r>
            <a:r>
              <a:rPr lang="uk-UA" dirty="0">
                <a:solidFill>
                  <a:srgbClr val="002060"/>
                </a:solidFill>
              </a:rPr>
              <a:t>Для проектів, які передбачають </a:t>
            </a:r>
            <a:r>
              <a:rPr lang="uk-UA" b="1" dirty="0">
                <a:solidFill>
                  <a:srgbClr val="002060"/>
                </a:solidFill>
              </a:rPr>
              <a:t>створення інфраструктури індустріальних та інноваційних парків</a:t>
            </a:r>
            <a:r>
              <a:rPr lang="uk-UA" dirty="0">
                <a:solidFill>
                  <a:srgbClr val="002060"/>
                </a:solidFill>
              </a:rPr>
              <a:t> - документи з урахуванням вимог Законів України «Про індустріальні парки» та «Про інноваційну діяльність».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895618" y="6312058"/>
            <a:ext cx="8091956" cy="378468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uk-UA" b="1" dirty="0">
                <a:solidFill>
                  <a:srgbClr val="002060"/>
                </a:solidFill>
              </a:rPr>
              <a:t>6. </a:t>
            </a:r>
            <a:r>
              <a:rPr lang="uk-UA" dirty="0">
                <a:solidFill>
                  <a:srgbClr val="002060"/>
                </a:solidFill>
              </a:rPr>
              <a:t>Підтвердження залишкової вартості проекту.</a:t>
            </a:r>
          </a:p>
        </p:txBody>
      </p:sp>
      <p:cxnSp>
        <p:nvCxnSpPr>
          <p:cNvPr id="19" name="Прямая со стрелкой 18"/>
          <p:cNvCxnSpPr/>
          <p:nvPr/>
        </p:nvCxnSpPr>
        <p:spPr>
          <a:xfrm>
            <a:off x="261380" y="1412776"/>
            <a:ext cx="61405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/>
        </p:nvCxnSpPr>
        <p:spPr>
          <a:xfrm>
            <a:off x="251520" y="1237097"/>
            <a:ext cx="9860" cy="5288247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>
            <a:off x="251520" y="2636912"/>
            <a:ext cx="61405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/>
          <p:cNvCxnSpPr/>
          <p:nvPr/>
        </p:nvCxnSpPr>
        <p:spPr>
          <a:xfrm>
            <a:off x="261380" y="3933056"/>
            <a:ext cx="61405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/>
          <p:nvPr/>
        </p:nvCxnSpPr>
        <p:spPr>
          <a:xfrm>
            <a:off x="251520" y="4869160"/>
            <a:ext cx="61405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/>
          <p:nvPr/>
        </p:nvCxnSpPr>
        <p:spPr>
          <a:xfrm>
            <a:off x="281564" y="5805264"/>
            <a:ext cx="614054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 стрелкой 30"/>
          <p:cNvCxnSpPr/>
          <p:nvPr/>
        </p:nvCxnSpPr>
        <p:spPr>
          <a:xfrm>
            <a:off x="251520" y="6525344"/>
            <a:ext cx="644098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3681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28600" y="1143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5" name="Групувати 4"/>
          <p:cNvGrpSpPr/>
          <p:nvPr/>
        </p:nvGrpSpPr>
        <p:grpSpPr>
          <a:xfrm>
            <a:off x="228891" y="1023308"/>
            <a:ext cx="8492851" cy="5430028"/>
            <a:chOff x="1487489" y="1143000"/>
            <a:chExt cx="7652922" cy="5022304"/>
          </a:xfrm>
        </p:grpSpPr>
        <p:grpSp>
          <p:nvGrpSpPr>
            <p:cNvPr id="195" name="Group 165"/>
            <p:cNvGrpSpPr>
              <a:grpSpLocks/>
            </p:cNvGrpSpPr>
            <p:nvPr/>
          </p:nvGrpSpPr>
          <p:grpSpPr bwMode="auto">
            <a:xfrm>
              <a:off x="1626718" y="1143000"/>
              <a:ext cx="7449391" cy="5022304"/>
              <a:chOff x="1714663" y="980728"/>
              <a:chExt cx="7304904" cy="4752589"/>
            </a:xfrm>
          </p:grpSpPr>
          <p:grpSp>
            <p:nvGrpSpPr>
              <p:cNvPr id="200" name="Group 99"/>
              <p:cNvGrpSpPr>
                <a:grpSpLocks/>
              </p:cNvGrpSpPr>
              <p:nvPr/>
            </p:nvGrpSpPr>
            <p:grpSpPr bwMode="auto">
              <a:xfrm>
                <a:off x="1714663" y="980728"/>
                <a:ext cx="7304904" cy="4752589"/>
                <a:chOff x="179512" y="1788775"/>
                <a:chExt cx="6262359" cy="4016489"/>
              </a:xfrm>
            </p:grpSpPr>
            <p:sp>
              <p:nvSpPr>
                <p:cNvPr id="203" name="AutoShape 63"/>
                <p:cNvSpPr>
                  <a:spLocks noChangeAspect="1" noChangeArrowheads="1"/>
                </p:cNvSpPr>
                <p:nvPr/>
              </p:nvSpPr>
              <p:spPr bwMode="auto">
                <a:xfrm>
                  <a:off x="179512" y="1788775"/>
                  <a:ext cx="6103111" cy="3655623"/>
                </a:xfrm>
                <a:prstGeom prst="rect">
                  <a:avLst/>
                </a:prstGeom>
                <a:noFill/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4" name="Freeform 62"/>
                <p:cNvSpPr>
                  <a:spLocks/>
                </p:cNvSpPr>
                <p:nvPr/>
              </p:nvSpPr>
              <p:spPr bwMode="auto">
                <a:xfrm>
                  <a:off x="4566294" y="4994990"/>
                  <a:ext cx="85748" cy="73784"/>
                </a:xfrm>
                <a:custGeom>
                  <a:avLst/>
                  <a:gdLst/>
                  <a:ahLst/>
                  <a:cxnLst>
                    <a:cxn ang="0">
                      <a:pos x="7" y="28"/>
                    </a:cxn>
                    <a:cxn ang="0">
                      <a:pos x="7" y="15"/>
                    </a:cxn>
                    <a:cxn ang="0">
                      <a:pos x="20" y="4"/>
                    </a:cxn>
                    <a:cxn ang="0">
                      <a:pos x="25" y="18"/>
                    </a:cxn>
                    <a:cxn ang="0">
                      <a:pos x="26" y="29"/>
                    </a:cxn>
                    <a:cxn ang="0">
                      <a:pos x="7" y="28"/>
                    </a:cxn>
                    <a:cxn ang="0">
                      <a:pos x="7" y="28"/>
                    </a:cxn>
                  </a:cxnLst>
                  <a:rect l="0" t="0" r="r" b="b"/>
                  <a:pathLst>
                    <a:path w="30" h="29">
                      <a:moveTo>
                        <a:pt x="7" y="28"/>
                      </a:moveTo>
                      <a:cubicBezTo>
                        <a:pt x="0" y="20"/>
                        <a:pt x="7" y="15"/>
                        <a:pt x="7" y="15"/>
                      </a:cubicBezTo>
                      <a:cubicBezTo>
                        <a:pt x="7" y="0"/>
                        <a:pt x="20" y="4"/>
                        <a:pt x="20" y="4"/>
                      </a:cubicBezTo>
                      <a:cubicBezTo>
                        <a:pt x="30" y="4"/>
                        <a:pt x="25" y="18"/>
                        <a:pt x="25" y="18"/>
                      </a:cubicBezTo>
                      <a:cubicBezTo>
                        <a:pt x="26" y="22"/>
                        <a:pt x="26" y="26"/>
                        <a:pt x="26" y="29"/>
                      </a:cubicBezTo>
                      <a:cubicBezTo>
                        <a:pt x="26" y="29"/>
                        <a:pt x="13" y="18"/>
                        <a:pt x="7" y="28"/>
                      </a:cubicBezTo>
                      <a:cubicBezTo>
                        <a:pt x="7" y="28"/>
                        <a:pt x="7" y="28"/>
                        <a:pt x="7" y="28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5" name="Freeform 61"/>
                <p:cNvSpPr>
                  <a:spLocks/>
                </p:cNvSpPr>
                <p:nvPr/>
              </p:nvSpPr>
              <p:spPr bwMode="auto">
                <a:xfrm>
                  <a:off x="3541395" y="4821936"/>
                  <a:ext cx="107526" cy="46953"/>
                </a:xfrm>
                <a:custGeom>
                  <a:avLst/>
                  <a:gdLst/>
                  <a:ahLst/>
                  <a:cxnLst>
                    <a:cxn ang="0">
                      <a:pos x="37" y="3"/>
                    </a:cxn>
                    <a:cxn ang="0">
                      <a:pos x="33" y="15"/>
                    </a:cxn>
                    <a:cxn ang="0">
                      <a:pos x="17" y="18"/>
                    </a:cxn>
                    <a:cxn ang="0">
                      <a:pos x="0" y="0"/>
                    </a:cxn>
                    <a:cxn ang="0">
                      <a:pos x="22" y="0"/>
                    </a:cxn>
                    <a:cxn ang="0">
                      <a:pos x="37" y="3"/>
                    </a:cxn>
                    <a:cxn ang="0">
                      <a:pos x="37" y="3"/>
                    </a:cxn>
                  </a:cxnLst>
                  <a:rect l="0" t="0" r="r" b="b"/>
                  <a:pathLst>
                    <a:path w="38" h="18">
                      <a:moveTo>
                        <a:pt x="37" y="3"/>
                      </a:moveTo>
                      <a:cubicBezTo>
                        <a:pt x="38" y="8"/>
                        <a:pt x="29" y="11"/>
                        <a:pt x="33" y="15"/>
                      </a:cubicBezTo>
                      <a:cubicBezTo>
                        <a:pt x="24" y="15"/>
                        <a:pt x="17" y="18"/>
                        <a:pt x="17" y="18"/>
                      </a:cubicBezTo>
                      <a:cubicBezTo>
                        <a:pt x="7" y="14"/>
                        <a:pt x="0" y="0"/>
                        <a:pt x="0" y="0"/>
                      </a:cubicBezTo>
                      <a:cubicBezTo>
                        <a:pt x="16" y="5"/>
                        <a:pt x="22" y="0"/>
                        <a:pt x="22" y="0"/>
                      </a:cubicBezTo>
                      <a:cubicBezTo>
                        <a:pt x="29" y="2"/>
                        <a:pt x="33" y="3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6" name="Freeform 60"/>
                <p:cNvSpPr>
                  <a:spLocks/>
                </p:cNvSpPr>
                <p:nvPr/>
              </p:nvSpPr>
              <p:spPr bwMode="auto">
                <a:xfrm>
                  <a:off x="4775901" y="4962794"/>
                  <a:ext cx="70776" cy="52319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0" y="21"/>
                    </a:cxn>
                    <a:cxn ang="0">
                      <a:pos x="25" y="0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25" h="21">
                      <a:moveTo>
                        <a:pt x="25" y="0"/>
                      </a:moveTo>
                      <a:cubicBezTo>
                        <a:pt x="25" y="10"/>
                        <a:pt x="0" y="21"/>
                        <a:pt x="0" y="21"/>
                      </a:cubicBezTo>
                      <a:cubicBezTo>
                        <a:pt x="1" y="6"/>
                        <a:pt x="16" y="8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7" name="Freeform 59"/>
                <p:cNvSpPr>
                  <a:spLocks/>
                </p:cNvSpPr>
                <p:nvPr/>
              </p:nvSpPr>
              <p:spPr bwMode="auto">
                <a:xfrm>
                  <a:off x="3937472" y="5037919"/>
                  <a:ext cx="151080" cy="42928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35" y="13"/>
                    </a:cxn>
                    <a:cxn ang="0">
                      <a:pos x="50" y="8"/>
                    </a:cxn>
                    <a:cxn ang="0">
                      <a:pos x="35" y="3"/>
                    </a:cxn>
                    <a:cxn ang="0">
                      <a:pos x="0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53" h="17">
                      <a:moveTo>
                        <a:pt x="0" y="2"/>
                      </a:moveTo>
                      <a:cubicBezTo>
                        <a:pt x="24" y="8"/>
                        <a:pt x="35" y="13"/>
                        <a:pt x="35" y="13"/>
                      </a:cubicBezTo>
                      <a:cubicBezTo>
                        <a:pt x="53" y="17"/>
                        <a:pt x="50" y="8"/>
                        <a:pt x="50" y="8"/>
                      </a:cubicBezTo>
                      <a:cubicBezTo>
                        <a:pt x="49" y="2"/>
                        <a:pt x="35" y="3"/>
                        <a:pt x="35" y="3"/>
                      </a:cubicBezTo>
                      <a:cubicBezTo>
                        <a:pt x="28" y="0"/>
                        <a:pt x="26" y="6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8" name="Freeform 105"/>
                <p:cNvSpPr>
                  <a:spLocks/>
                </p:cNvSpPr>
                <p:nvPr/>
              </p:nvSpPr>
              <p:spPr bwMode="auto">
                <a:xfrm>
                  <a:off x="823306" y="3385175"/>
                  <a:ext cx="703681" cy="827714"/>
                </a:xfrm>
                <a:custGeom>
                  <a:avLst/>
                  <a:gdLst/>
                  <a:ahLst/>
                  <a:cxnLst>
                    <a:cxn ang="0">
                      <a:pos x="0" y="135"/>
                    </a:cxn>
                    <a:cxn ang="0">
                      <a:pos x="3" y="108"/>
                    </a:cxn>
                    <a:cxn ang="0">
                      <a:pos x="11" y="90"/>
                    </a:cxn>
                    <a:cxn ang="0">
                      <a:pos x="22" y="80"/>
                    </a:cxn>
                    <a:cxn ang="0">
                      <a:pos x="39" y="71"/>
                    </a:cxn>
                    <a:cxn ang="0">
                      <a:pos x="63" y="69"/>
                    </a:cxn>
                    <a:cxn ang="0">
                      <a:pos x="93" y="66"/>
                    </a:cxn>
                    <a:cxn ang="0">
                      <a:pos x="116" y="59"/>
                    </a:cxn>
                    <a:cxn ang="0">
                      <a:pos x="103" y="56"/>
                    </a:cxn>
                    <a:cxn ang="0">
                      <a:pos x="102" y="40"/>
                    </a:cxn>
                    <a:cxn ang="0">
                      <a:pos x="113" y="21"/>
                    </a:cxn>
                    <a:cxn ang="0">
                      <a:pos x="123" y="7"/>
                    </a:cxn>
                    <a:cxn ang="0">
                      <a:pos x="140" y="6"/>
                    </a:cxn>
                    <a:cxn ang="0">
                      <a:pos x="151" y="11"/>
                    </a:cxn>
                    <a:cxn ang="0">
                      <a:pos x="162" y="53"/>
                    </a:cxn>
                    <a:cxn ang="0">
                      <a:pos x="163" y="66"/>
                    </a:cxn>
                    <a:cxn ang="0">
                      <a:pos x="160" y="81"/>
                    </a:cxn>
                    <a:cxn ang="0">
                      <a:pos x="176" y="87"/>
                    </a:cxn>
                    <a:cxn ang="0">
                      <a:pos x="165" y="95"/>
                    </a:cxn>
                    <a:cxn ang="0">
                      <a:pos x="179" y="111"/>
                    </a:cxn>
                    <a:cxn ang="0">
                      <a:pos x="188" y="117"/>
                    </a:cxn>
                    <a:cxn ang="0">
                      <a:pos x="196" y="126"/>
                    </a:cxn>
                    <a:cxn ang="0">
                      <a:pos x="204" y="135"/>
                    </a:cxn>
                    <a:cxn ang="0">
                      <a:pos x="219" y="135"/>
                    </a:cxn>
                    <a:cxn ang="0">
                      <a:pos x="233" y="143"/>
                    </a:cxn>
                    <a:cxn ang="0">
                      <a:pos x="246" y="168"/>
                    </a:cxn>
                    <a:cxn ang="0">
                      <a:pos x="241" y="189"/>
                    </a:cxn>
                    <a:cxn ang="0">
                      <a:pos x="241" y="205"/>
                    </a:cxn>
                    <a:cxn ang="0">
                      <a:pos x="225" y="217"/>
                    </a:cxn>
                    <a:cxn ang="0">
                      <a:pos x="189" y="240"/>
                    </a:cxn>
                    <a:cxn ang="0">
                      <a:pos x="182" y="245"/>
                    </a:cxn>
                    <a:cxn ang="0">
                      <a:pos x="161" y="264"/>
                    </a:cxn>
                    <a:cxn ang="0">
                      <a:pos x="153" y="302"/>
                    </a:cxn>
                    <a:cxn ang="0">
                      <a:pos x="148" y="331"/>
                    </a:cxn>
                    <a:cxn ang="0">
                      <a:pos x="124" y="306"/>
                    </a:cxn>
                    <a:cxn ang="0">
                      <a:pos x="113" y="285"/>
                    </a:cxn>
                    <a:cxn ang="0">
                      <a:pos x="111" y="256"/>
                    </a:cxn>
                    <a:cxn ang="0">
                      <a:pos x="106" y="238"/>
                    </a:cxn>
                    <a:cxn ang="0">
                      <a:pos x="91" y="217"/>
                    </a:cxn>
                    <a:cxn ang="0">
                      <a:pos x="78" y="213"/>
                    </a:cxn>
                    <a:cxn ang="0">
                      <a:pos x="62" y="201"/>
                    </a:cxn>
                    <a:cxn ang="0">
                      <a:pos x="60" y="180"/>
                    </a:cxn>
                    <a:cxn ang="0">
                      <a:pos x="45" y="186"/>
                    </a:cxn>
                    <a:cxn ang="0">
                      <a:pos x="40" y="177"/>
                    </a:cxn>
                    <a:cxn ang="0">
                      <a:pos x="32" y="169"/>
                    </a:cxn>
                    <a:cxn ang="0">
                      <a:pos x="12" y="153"/>
                    </a:cxn>
                    <a:cxn ang="0">
                      <a:pos x="0" y="135"/>
                    </a:cxn>
                    <a:cxn ang="0">
                      <a:pos x="0" y="135"/>
                    </a:cxn>
                  </a:cxnLst>
                  <a:rect l="0" t="0" r="r" b="b"/>
                  <a:pathLst>
                    <a:path w="249" h="331">
                      <a:moveTo>
                        <a:pt x="0" y="135"/>
                      </a:moveTo>
                      <a:cubicBezTo>
                        <a:pt x="7" y="119"/>
                        <a:pt x="3" y="108"/>
                        <a:pt x="3" y="108"/>
                      </a:cubicBezTo>
                      <a:cubicBezTo>
                        <a:pt x="2" y="93"/>
                        <a:pt x="11" y="90"/>
                        <a:pt x="11" y="90"/>
                      </a:cubicBezTo>
                      <a:cubicBezTo>
                        <a:pt x="20" y="87"/>
                        <a:pt x="22" y="80"/>
                        <a:pt x="22" y="80"/>
                      </a:cubicBezTo>
                      <a:cubicBezTo>
                        <a:pt x="19" y="64"/>
                        <a:pt x="39" y="71"/>
                        <a:pt x="39" y="71"/>
                      </a:cubicBezTo>
                      <a:cubicBezTo>
                        <a:pt x="59" y="75"/>
                        <a:pt x="63" y="69"/>
                        <a:pt x="63" y="69"/>
                      </a:cubicBezTo>
                      <a:cubicBezTo>
                        <a:pt x="72" y="65"/>
                        <a:pt x="93" y="66"/>
                        <a:pt x="93" y="66"/>
                      </a:cubicBezTo>
                      <a:cubicBezTo>
                        <a:pt x="116" y="67"/>
                        <a:pt x="116" y="59"/>
                        <a:pt x="116" y="59"/>
                      </a:cubicBezTo>
                      <a:cubicBezTo>
                        <a:pt x="115" y="55"/>
                        <a:pt x="103" y="56"/>
                        <a:pt x="103" y="56"/>
                      </a:cubicBezTo>
                      <a:cubicBezTo>
                        <a:pt x="100" y="50"/>
                        <a:pt x="102" y="40"/>
                        <a:pt x="102" y="40"/>
                      </a:cubicBezTo>
                      <a:cubicBezTo>
                        <a:pt x="116" y="39"/>
                        <a:pt x="113" y="21"/>
                        <a:pt x="113" y="21"/>
                      </a:cubicBezTo>
                      <a:cubicBezTo>
                        <a:pt x="110" y="4"/>
                        <a:pt x="123" y="7"/>
                        <a:pt x="123" y="7"/>
                      </a:cubicBezTo>
                      <a:cubicBezTo>
                        <a:pt x="129" y="0"/>
                        <a:pt x="140" y="6"/>
                        <a:pt x="140" y="6"/>
                      </a:cubicBezTo>
                      <a:cubicBezTo>
                        <a:pt x="142" y="14"/>
                        <a:pt x="151" y="11"/>
                        <a:pt x="151" y="11"/>
                      </a:cubicBezTo>
                      <a:cubicBezTo>
                        <a:pt x="151" y="11"/>
                        <a:pt x="162" y="31"/>
                        <a:pt x="162" y="53"/>
                      </a:cubicBezTo>
                      <a:cubicBezTo>
                        <a:pt x="162" y="53"/>
                        <a:pt x="168" y="63"/>
                        <a:pt x="163" y="66"/>
                      </a:cubicBezTo>
                      <a:cubicBezTo>
                        <a:pt x="163" y="66"/>
                        <a:pt x="158" y="73"/>
                        <a:pt x="160" y="81"/>
                      </a:cubicBezTo>
                      <a:cubicBezTo>
                        <a:pt x="160" y="81"/>
                        <a:pt x="175" y="80"/>
                        <a:pt x="176" y="87"/>
                      </a:cubicBezTo>
                      <a:cubicBezTo>
                        <a:pt x="176" y="87"/>
                        <a:pt x="179" y="94"/>
                        <a:pt x="165" y="95"/>
                      </a:cubicBezTo>
                      <a:cubicBezTo>
                        <a:pt x="182" y="98"/>
                        <a:pt x="173" y="109"/>
                        <a:pt x="179" y="111"/>
                      </a:cubicBezTo>
                      <a:cubicBezTo>
                        <a:pt x="179" y="111"/>
                        <a:pt x="190" y="102"/>
                        <a:pt x="188" y="117"/>
                      </a:cubicBezTo>
                      <a:cubicBezTo>
                        <a:pt x="188" y="117"/>
                        <a:pt x="186" y="139"/>
                        <a:pt x="196" y="126"/>
                      </a:cubicBezTo>
                      <a:cubicBezTo>
                        <a:pt x="196" y="126"/>
                        <a:pt x="203" y="111"/>
                        <a:pt x="204" y="135"/>
                      </a:cubicBezTo>
                      <a:cubicBezTo>
                        <a:pt x="204" y="135"/>
                        <a:pt x="196" y="154"/>
                        <a:pt x="219" y="135"/>
                      </a:cubicBezTo>
                      <a:cubicBezTo>
                        <a:pt x="219" y="135"/>
                        <a:pt x="230" y="129"/>
                        <a:pt x="233" y="143"/>
                      </a:cubicBezTo>
                      <a:cubicBezTo>
                        <a:pt x="233" y="143"/>
                        <a:pt x="249" y="147"/>
                        <a:pt x="246" y="168"/>
                      </a:cubicBezTo>
                      <a:cubicBezTo>
                        <a:pt x="246" y="168"/>
                        <a:pt x="234" y="172"/>
                        <a:pt x="241" y="189"/>
                      </a:cubicBezTo>
                      <a:cubicBezTo>
                        <a:pt x="241" y="189"/>
                        <a:pt x="245" y="194"/>
                        <a:pt x="241" y="205"/>
                      </a:cubicBezTo>
                      <a:cubicBezTo>
                        <a:pt x="241" y="205"/>
                        <a:pt x="243" y="220"/>
                        <a:pt x="225" y="217"/>
                      </a:cubicBezTo>
                      <a:cubicBezTo>
                        <a:pt x="225" y="217"/>
                        <a:pt x="208" y="213"/>
                        <a:pt x="189" y="240"/>
                      </a:cubicBezTo>
                      <a:cubicBezTo>
                        <a:pt x="189" y="240"/>
                        <a:pt x="186" y="247"/>
                        <a:pt x="182" y="245"/>
                      </a:cubicBezTo>
                      <a:cubicBezTo>
                        <a:pt x="182" y="245"/>
                        <a:pt x="177" y="260"/>
                        <a:pt x="161" y="264"/>
                      </a:cubicBezTo>
                      <a:cubicBezTo>
                        <a:pt x="161" y="264"/>
                        <a:pt x="148" y="282"/>
                        <a:pt x="153" y="302"/>
                      </a:cubicBezTo>
                      <a:cubicBezTo>
                        <a:pt x="153" y="302"/>
                        <a:pt x="162" y="311"/>
                        <a:pt x="148" y="331"/>
                      </a:cubicBezTo>
                      <a:cubicBezTo>
                        <a:pt x="148" y="331"/>
                        <a:pt x="138" y="304"/>
                        <a:pt x="124" y="306"/>
                      </a:cubicBezTo>
                      <a:cubicBezTo>
                        <a:pt x="124" y="306"/>
                        <a:pt x="125" y="291"/>
                        <a:pt x="113" y="285"/>
                      </a:cubicBezTo>
                      <a:cubicBezTo>
                        <a:pt x="125" y="264"/>
                        <a:pt x="111" y="256"/>
                        <a:pt x="111" y="256"/>
                      </a:cubicBezTo>
                      <a:cubicBezTo>
                        <a:pt x="102" y="252"/>
                        <a:pt x="113" y="242"/>
                        <a:pt x="106" y="238"/>
                      </a:cubicBezTo>
                      <a:cubicBezTo>
                        <a:pt x="100" y="219"/>
                        <a:pt x="91" y="217"/>
                        <a:pt x="91" y="217"/>
                      </a:cubicBezTo>
                      <a:cubicBezTo>
                        <a:pt x="84" y="201"/>
                        <a:pt x="78" y="213"/>
                        <a:pt x="78" y="213"/>
                      </a:cubicBezTo>
                      <a:cubicBezTo>
                        <a:pt x="53" y="216"/>
                        <a:pt x="62" y="201"/>
                        <a:pt x="62" y="201"/>
                      </a:cubicBezTo>
                      <a:cubicBezTo>
                        <a:pt x="67" y="172"/>
                        <a:pt x="60" y="180"/>
                        <a:pt x="60" y="180"/>
                      </a:cubicBezTo>
                      <a:cubicBezTo>
                        <a:pt x="49" y="179"/>
                        <a:pt x="45" y="186"/>
                        <a:pt x="45" y="186"/>
                      </a:cubicBezTo>
                      <a:cubicBezTo>
                        <a:pt x="32" y="188"/>
                        <a:pt x="40" y="177"/>
                        <a:pt x="40" y="177"/>
                      </a:cubicBezTo>
                      <a:cubicBezTo>
                        <a:pt x="39" y="170"/>
                        <a:pt x="32" y="169"/>
                        <a:pt x="32" y="169"/>
                      </a:cubicBezTo>
                      <a:cubicBezTo>
                        <a:pt x="23" y="167"/>
                        <a:pt x="29" y="152"/>
                        <a:pt x="12" y="153"/>
                      </a:cubicBezTo>
                      <a:cubicBezTo>
                        <a:pt x="13" y="144"/>
                        <a:pt x="0" y="135"/>
                        <a:pt x="0" y="135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542923" y="2890157"/>
                  <a:ext cx="970454" cy="834421"/>
                </a:xfrm>
                <a:custGeom>
                  <a:avLst/>
                  <a:gdLst/>
                  <a:ahLst/>
                  <a:cxnLst>
                    <a:cxn ang="0">
                      <a:pos x="28" y="267"/>
                    </a:cxn>
                    <a:cxn ang="0">
                      <a:pos x="20" y="247"/>
                    </a:cxn>
                    <a:cxn ang="0">
                      <a:pos x="16" y="227"/>
                    </a:cxn>
                    <a:cxn ang="0">
                      <a:pos x="18" y="197"/>
                    </a:cxn>
                    <a:cxn ang="0">
                      <a:pos x="15" y="179"/>
                    </a:cxn>
                    <a:cxn ang="0">
                      <a:pos x="48" y="134"/>
                    </a:cxn>
                    <a:cxn ang="0">
                      <a:pos x="148" y="45"/>
                    </a:cxn>
                    <a:cxn ang="0">
                      <a:pos x="172" y="32"/>
                    </a:cxn>
                    <a:cxn ang="0">
                      <a:pos x="189" y="24"/>
                    </a:cxn>
                    <a:cxn ang="0">
                      <a:pos x="201" y="13"/>
                    </a:cxn>
                    <a:cxn ang="0">
                      <a:pos x="201" y="0"/>
                    </a:cxn>
                    <a:cxn ang="0">
                      <a:pos x="219" y="10"/>
                    </a:cxn>
                    <a:cxn ang="0">
                      <a:pos x="234" y="14"/>
                    </a:cxn>
                    <a:cxn ang="0">
                      <a:pos x="244" y="22"/>
                    </a:cxn>
                    <a:cxn ang="0">
                      <a:pos x="237" y="35"/>
                    </a:cxn>
                    <a:cxn ang="0">
                      <a:pos x="245" y="40"/>
                    </a:cxn>
                    <a:cxn ang="0">
                      <a:pos x="259" y="48"/>
                    </a:cxn>
                    <a:cxn ang="0">
                      <a:pos x="274" y="58"/>
                    </a:cxn>
                    <a:cxn ang="0">
                      <a:pos x="295" y="58"/>
                    </a:cxn>
                    <a:cxn ang="0">
                      <a:pos x="304" y="69"/>
                    </a:cxn>
                    <a:cxn ang="0">
                      <a:pos x="318" y="72"/>
                    </a:cxn>
                    <a:cxn ang="0">
                      <a:pos x="315" y="84"/>
                    </a:cxn>
                    <a:cxn ang="0">
                      <a:pos x="318" y="108"/>
                    </a:cxn>
                    <a:cxn ang="0">
                      <a:pos x="318" y="108"/>
                    </a:cxn>
                    <a:cxn ang="0">
                      <a:pos x="333" y="124"/>
                    </a:cxn>
                    <a:cxn ang="0">
                      <a:pos x="333" y="124"/>
                    </a:cxn>
                    <a:cxn ang="0">
                      <a:pos x="333" y="144"/>
                    </a:cxn>
                    <a:cxn ang="0">
                      <a:pos x="319" y="152"/>
                    </a:cxn>
                    <a:cxn ang="0">
                      <a:pos x="296" y="164"/>
                    </a:cxn>
                    <a:cxn ang="0">
                      <a:pos x="289" y="172"/>
                    </a:cxn>
                    <a:cxn ang="0">
                      <a:pos x="274" y="190"/>
                    </a:cxn>
                    <a:cxn ang="0">
                      <a:pos x="254" y="199"/>
                    </a:cxn>
                    <a:cxn ang="0">
                      <a:pos x="250" y="209"/>
                    </a:cxn>
                    <a:cxn ang="0">
                      <a:pos x="239" y="204"/>
                    </a:cxn>
                    <a:cxn ang="0">
                      <a:pos x="222" y="205"/>
                    </a:cxn>
                    <a:cxn ang="0">
                      <a:pos x="212" y="219"/>
                    </a:cxn>
                    <a:cxn ang="0">
                      <a:pos x="201" y="238"/>
                    </a:cxn>
                    <a:cxn ang="0">
                      <a:pos x="202" y="254"/>
                    </a:cxn>
                    <a:cxn ang="0">
                      <a:pos x="215" y="257"/>
                    </a:cxn>
                    <a:cxn ang="0">
                      <a:pos x="192" y="264"/>
                    </a:cxn>
                    <a:cxn ang="0">
                      <a:pos x="162" y="267"/>
                    </a:cxn>
                    <a:cxn ang="0">
                      <a:pos x="138" y="269"/>
                    </a:cxn>
                    <a:cxn ang="0">
                      <a:pos x="121" y="278"/>
                    </a:cxn>
                    <a:cxn ang="0">
                      <a:pos x="110" y="288"/>
                    </a:cxn>
                    <a:cxn ang="0">
                      <a:pos x="102" y="306"/>
                    </a:cxn>
                    <a:cxn ang="0">
                      <a:pos x="100" y="333"/>
                    </a:cxn>
                    <a:cxn ang="0">
                      <a:pos x="100" y="333"/>
                    </a:cxn>
                    <a:cxn ang="0">
                      <a:pos x="83" y="333"/>
                    </a:cxn>
                    <a:cxn ang="0">
                      <a:pos x="83" y="333"/>
                    </a:cxn>
                    <a:cxn ang="0">
                      <a:pos x="69" y="324"/>
                    </a:cxn>
                    <a:cxn ang="0">
                      <a:pos x="55" y="313"/>
                    </a:cxn>
                    <a:cxn ang="0">
                      <a:pos x="43" y="304"/>
                    </a:cxn>
                    <a:cxn ang="0">
                      <a:pos x="31" y="295"/>
                    </a:cxn>
                    <a:cxn ang="0">
                      <a:pos x="28" y="267"/>
                    </a:cxn>
                    <a:cxn ang="0">
                      <a:pos x="28" y="267"/>
                    </a:cxn>
                  </a:cxnLst>
                  <a:rect l="0" t="0" r="r" b="b"/>
                  <a:pathLst>
                    <a:path w="343" h="333">
                      <a:moveTo>
                        <a:pt x="28" y="267"/>
                      </a:moveTo>
                      <a:cubicBezTo>
                        <a:pt x="28" y="267"/>
                        <a:pt x="31" y="255"/>
                        <a:pt x="20" y="247"/>
                      </a:cubicBezTo>
                      <a:cubicBezTo>
                        <a:pt x="20" y="247"/>
                        <a:pt x="7" y="242"/>
                        <a:pt x="16" y="227"/>
                      </a:cubicBezTo>
                      <a:cubicBezTo>
                        <a:pt x="16" y="227"/>
                        <a:pt x="23" y="219"/>
                        <a:pt x="18" y="197"/>
                      </a:cubicBezTo>
                      <a:cubicBezTo>
                        <a:pt x="18" y="197"/>
                        <a:pt x="13" y="197"/>
                        <a:pt x="15" y="179"/>
                      </a:cubicBezTo>
                      <a:cubicBezTo>
                        <a:pt x="15" y="179"/>
                        <a:pt x="0" y="177"/>
                        <a:pt x="48" y="134"/>
                      </a:cubicBezTo>
                      <a:cubicBezTo>
                        <a:pt x="48" y="134"/>
                        <a:pt x="98" y="73"/>
                        <a:pt x="148" y="45"/>
                      </a:cubicBezTo>
                      <a:cubicBezTo>
                        <a:pt x="148" y="45"/>
                        <a:pt x="145" y="31"/>
                        <a:pt x="172" y="32"/>
                      </a:cubicBezTo>
                      <a:cubicBezTo>
                        <a:pt x="172" y="32"/>
                        <a:pt x="191" y="36"/>
                        <a:pt x="189" y="24"/>
                      </a:cubicBezTo>
                      <a:cubicBezTo>
                        <a:pt x="189" y="24"/>
                        <a:pt x="186" y="12"/>
                        <a:pt x="201" y="13"/>
                      </a:cubicBezTo>
                      <a:cubicBezTo>
                        <a:pt x="201" y="13"/>
                        <a:pt x="202" y="7"/>
                        <a:pt x="201" y="0"/>
                      </a:cubicBezTo>
                      <a:cubicBezTo>
                        <a:pt x="210" y="11"/>
                        <a:pt x="219" y="10"/>
                        <a:pt x="219" y="10"/>
                      </a:cubicBezTo>
                      <a:cubicBezTo>
                        <a:pt x="230" y="7"/>
                        <a:pt x="234" y="14"/>
                        <a:pt x="234" y="14"/>
                      </a:cubicBezTo>
                      <a:cubicBezTo>
                        <a:pt x="243" y="14"/>
                        <a:pt x="244" y="22"/>
                        <a:pt x="244" y="22"/>
                      </a:cubicBezTo>
                      <a:cubicBezTo>
                        <a:pt x="246" y="28"/>
                        <a:pt x="230" y="30"/>
                        <a:pt x="237" y="35"/>
                      </a:cubicBezTo>
                      <a:cubicBezTo>
                        <a:pt x="238" y="44"/>
                        <a:pt x="245" y="40"/>
                        <a:pt x="245" y="40"/>
                      </a:cubicBezTo>
                      <a:cubicBezTo>
                        <a:pt x="256" y="41"/>
                        <a:pt x="259" y="48"/>
                        <a:pt x="259" y="48"/>
                      </a:cubicBezTo>
                      <a:cubicBezTo>
                        <a:pt x="263" y="63"/>
                        <a:pt x="274" y="58"/>
                        <a:pt x="274" y="58"/>
                      </a:cubicBezTo>
                      <a:cubicBezTo>
                        <a:pt x="284" y="53"/>
                        <a:pt x="295" y="58"/>
                        <a:pt x="295" y="58"/>
                      </a:cubicBezTo>
                      <a:cubicBezTo>
                        <a:pt x="305" y="61"/>
                        <a:pt x="304" y="69"/>
                        <a:pt x="304" y="69"/>
                      </a:cubicBezTo>
                      <a:cubicBezTo>
                        <a:pt x="301" y="75"/>
                        <a:pt x="318" y="72"/>
                        <a:pt x="318" y="72"/>
                      </a:cubicBezTo>
                      <a:cubicBezTo>
                        <a:pt x="322" y="78"/>
                        <a:pt x="315" y="84"/>
                        <a:pt x="315" y="84"/>
                      </a:cubicBezTo>
                      <a:cubicBezTo>
                        <a:pt x="312" y="101"/>
                        <a:pt x="318" y="108"/>
                        <a:pt x="318" y="108"/>
                      </a:cubicBezTo>
                      <a:cubicBezTo>
                        <a:pt x="318" y="108"/>
                        <a:pt x="318" y="108"/>
                        <a:pt x="318" y="108"/>
                      </a:cubicBezTo>
                      <a:cubicBezTo>
                        <a:pt x="333" y="124"/>
                        <a:pt x="333" y="124"/>
                        <a:pt x="333" y="124"/>
                      </a:cubicBezTo>
                      <a:cubicBezTo>
                        <a:pt x="333" y="124"/>
                        <a:pt x="333" y="124"/>
                        <a:pt x="333" y="124"/>
                      </a:cubicBezTo>
                      <a:cubicBezTo>
                        <a:pt x="343" y="135"/>
                        <a:pt x="333" y="144"/>
                        <a:pt x="333" y="144"/>
                      </a:cubicBezTo>
                      <a:cubicBezTo>
                        <a:pt x="333" y="151"/>
                        <a:pt x="319" y="152"/>
                        <a:pt x="319" y="152"/>
                      </a:cubicBezTo>
                      <a:cubicBezTo>
                        <a:pt x="289" y="151"/>
                        <a:pt x="296" y="164"/>
                        <a:pt x="296" y="164"/>
                      </a:cubicBezTo>
                      <a:cubicBezTo>
                        <a:pt x="303" y="172"/>
                        <a:pt x="289" y="172"/>
                        <a:pt x="289" y="172"/>
                      </a:cubicBezTo>
                      <a:cubicBezTo>
                        <a:pt x="280" y="194"/>
                        <a:pt x="274" y="190"/>
                        <a:pt x="274" y="190"/>
                      </a:cubicBezTo>
                      <a:cubicBezTo>
                        <a:pt x="269" y="197"/>
                        <a:pt x="259" y="191"/>
                        <a:pt x="254" y="199"/>
                      </a:cubicBezTo>
                      <a:cubicBezTo>
                        <a:pt x="251" y="201"/>
                        <a:pt x="250" y="209"/>
                        <a:pt x="250" y="209"/>
                      </a:cubicBezTo>
                      <a:cubicBezTo>
                        <a:pt x="250" y="209"/>
                        <a:pt x="241" y="212"/>
                        <a:pt x="239" y="204"/>
                      </a:cubicBezTo>
                      <a:cubicBezTo>
                        <a:pt x="239" y="204"/>
                        <a:pt x="228" y="198"/>
                        <a:pt x="222" y="205"/>
                      </a:cubicBezTo>
                      <a:cubicBezTo>
                        <a:pt x="222" y="205"/>
                        <a:pt x="209" y="202"/>
                        <a:pt x="212" y="219"/>
                      </a:cubicBezTo>
                      <a:cubicBezTo>
                        <a:pt x="212" y="219"/>
                        <a:pt x="215" y="237"/>
                        <a:pt x="201" y="238"/>
                      </a:cubicBezTo>
                      <a:cubicBezTo>
                        <a:pt x="201" y="238"/>
                        <a:pt x="199" y="248"/>
                        <a:pt x="202" y="254"/>
                      </a:cubicBezTo>
                      <a:cubicBezTo>
                        <a:pt x="202" y="254"/>
                        <a:pt x="214" y="253"/>
                        <a:pt x="215" y="257"/>
                      </a:cubicBezTo>
                      <a:cubicBezTo>
                        <a:pt x="215" y="257"/>
                        <a:pt x="215" y="265"/>
                        <a:pt x="192" y="264"/>
                      </a:cubicBezTo>
                      <a:cubicBezTo>
                        <a:pt x="192" y="264"/>
                        <a:pt x="171" y="263"/>
                        <a:pt x="162" y="267"/>
                      </a:cubicBezTo>
                      <a:cubicBezTo>
                        <a:pt x="162" y="267"/>
                        <a:pt x="158" y="273"/>
                        <a:pt x="138" y="269"/>
                      </a:cubicBezTo>
                      <a:cubicBezTo>
                        <a:pt x="138" y="269"/>
                        <a:pt x="118" y="262"/>
                        <a:pt x="121" y="278"/>
                      </a:cubicBezTo>
                      <a:cubicBezTo>
                        <a:pt x="121" y="278"/>
                        <a:pt x="119" y="285"/>
                        <a:pt x="110" y="288"/>
                      </a:cubicBezTo>
                      <a:cubicBezTo>
                        <a:pt x="110" y="288"/>
                        <a:pt x="101" y="291"/>
                        <a:pt x="102" y="306"/>
                      </a:cubicBezTo>
                      <a:cubicBezTo>
                        <a:pt x="102" y="306"/>
                        <a:pt x="106" y="316"/>
                        <a:pt x="100" y="333"/>
                      </a:cubicBezTo>
                      <a:cubicBezTo>
                        <a:pt x="100" y="333"/>
                        <a:pt x="100" y="333"/>
                        <a:pt x="100" y="333"/>
                      </a:cubicBezTo>
                      <a:cubicBezTo>
                        <a:pt x="83" y="333"/>
                        <a:pt x="83" y="333"/>
                        <a:pt x="83" y="333"/>
                      </a:cubicBezTo>
                      <a:cubicBezTo>
                        <a:pt x="83" y="333"/>
                        <a:pt x="83" y="333"/>
                        <a:pt x="83" y="333"/>
                      </a:cubicBezTo>
                      <a:cubicBezTo>
                        <a:pt x="83" y="333"/>
                        <a:pt x="80" y="324"/>
                        <a:pt x="69" y="324"/>
                      </a:cubicBezTo>
                      <a:cubicBezTo>
                        <a:pt x="69" y="324"/>
                        <a:pt x="57" y="326"/>
                        <a:pt x="55" y="313"/>
                      </a:cubicBezTo>
                      <a:cubicBezTo>
                        <a:pt x="55" y="313"/>
                        <a:pt x="55" y="297"/>
                        <a:pt x="43" y="304"/>
                      </a:cubicBezTo>
                      <a:cubicBezTo>
                        <a:pt x="43" y="304"/>
                        <a:pt x="33" y="303"/>
                        <a:pt x="31" y="295"/>
                      </a:cubicBezTo>
                      <a:cubicBezTo>
                        <a:pt x="31" y="295"/>
                        <a:pt x="25" y="292"/>
                        <a:pt x="28" y="267"/>
                      </a:cubicBezTo>
                      <a:cubicBezTo>
                        <a:pt x="28" y="267"/>
                        <a:pt x="28" y="267"/>
                        <a:pt x="28" y="267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0" name="Freeform 56"/>
                <p:cNvSpPr>
                  <a:spLocks/>
                </p:cNvSpPr>
                <p:nvPr/>
              </p:nvSpPr>
              <p:spPr bwMode="auto">
                <a:xfrm>
                  <a:off x="1250687" y="3088701"/>
                  <a:ext cx="537629" cy="799542"/>
                </a:xfrm>
                <a:custGeom>
                  <a:avLst/>
                  <a:gdLst/>
                  <a:ahLst/>
                  <a:cxnLst>
                    <a:cxn ang="0">
                      <a:pos x="96" y="288"/>
                    </a:cxn>
                    <a:cxn ang="0">
                      <a:pos x="104" y="292"/>
                    </a:cxn>
                    <a:cxn ang="0">
                      <a:pos x="114" y="294"/>
                    </a:cxn>
                    <a:cxn ang="0">
                      <a:pos x="126" y="302"/>
                    </a:cxn>
                    <a:cxn ang="0">
                      <a:pos x="134" y="304"/>
                    </a:cxn>
                    <a:cxn ang="0">
                      <a:pos x="151" y="309"/>
                    </a:cxn>
                    <a:cxn ang="0">
                      <a:pos x="165" y="318"/>
                    </a:cxn>
                    <a:cxn ang="0">
                      <a:pos x="180" y="320"/>
                    </a:cxn>
                    <a:cxn ang="0">
                      <a:pos x="175" y="303"/>
                    </a:cxn>
                    <a:cxn ang="0">
                      <a:pos x="169" y="266"/>
                    </a:cxn>
                    <a:cxn ang="0">
                      <a:pos x="169" y="223"/>
                    </a:cxn>
                    <a:cxn ang="0">
                      <a:pos x="173" y="188"/>
                    </a:cxn>
                    <a:cxn ang="0">
                      <a:pos x="171" y="153"/>
                    </a:cxn>
                    <a:cxn ang="0">
                      <a:pos x="172" y="134"/>
                    </a:cxn>
                    <a:cxn ang="0">
                      <a:pos x="178" y="111"/>
                    </a:cxn>
                    <a:cxn ang="0">
                      <a:pos x="179" y="100"/>
                    </a:cxn>
                    <a:cxn ang="0">
                      <a:pos x="178" y="89"/>
                    </a:cxn>
                    <a:cxn ang="0">
                      <a:pos x="182" y="55"/>
                    </a:cxn>
                    <a:cxn ang="0">
                      <a:pos x="189" y="24"/>
                    </a:cxn>
                    <a:cxn ang="0">
                      <a:pos x="178" y="10"/>
                    </a:cxn>
                    <a:cxn ang="0">
                      <a:pos x="159" y="5"/>
                    </a:cxn>
                    <a:cxn ang="0">
                      <a:pos x="144" y="12"/>
                    </a:cxn>
                    <a:cxn ang="0">
                      <a:pos x="120" y="20"/>
                    </a:cxn>
                    <a:cxn ang="0">
                      <a:pos x="96" y="23"/>
                    </a:cxn>
                    <a:cxn ang="0">
                      <a:pos x="83" y="45"/>
                    </a:cxn>
                    <a:cxn ang="0">
                      <a:pos x="83" y="65"/>
                    </a:cxn>
                    <a:cxn ang="0">
                      <a:pos x="69" y="73"/>
                    </a:cxn>
                    <a:cxn ang="0">
                      <a:pos x="46" y="85"/>
                    </a:cxn>
                    <a:cxn ang="0">
                      <a:pos x="39" y="93"/>
                    </a:cxn>
                    <a:cxn ang="0">
                      <a:pos x="24" y="111"/>
                    </a:cxn>
                    <a:cxn ang="0">
                      <a:pos x="4" y="120"/>
                    </a:cxn>
                    <a:cxn ang="0">
                      <a:pos x="0" y="130"/>
                    </a:cxn>
                    <a:cxn ang="0">
                      <a:pos x="11" y="172"/>
                    </a:cxn>
                    <a:cxn ang="0">
                      <a:pos x="12" y="185"/>
                    </a:cxn>
                    <a:cxn ang="0">
                      <a:pos x="9" y="200"/>
                    </a:cxn>
                    <a:cxn ang="0">
                      <a:pos x="25" y="206"/>
                    </a:cxn>
                    <a:cxn ang="0">
                      <a:pos x="14" y="214"/>
                    </a:cxn>
                    <a:cxn ang="0">
                      <a:pos x="28" y="230"/>
                    </a:cxn>
                    <a:cxn ang="0">
                      <a:pos x="37" y="236"/>
                    </a:cxn>
                    <a:cxn ang="0">
                      <a:pos x="45" y="245"/>
                    </a:cxn>
                    <a:cxn ang="0">
                      <a:pos x="53" y="254"/>
                    </a:cxn>
                    <a:cxn ang="0">
                      <a:pos x="68" y="254"/>
                    </a:cxn>
                    <a:cxn ang="0">
                      <a:pos x="82" y="262"/>
                    </a:cxn>
                    <a:cxn ang="0">
                      <a:pos x="96" y="288"/>
                    </a:cxn>
                    <a:cxn ang="0">
                      <a:pos x="96" y="288"/>
                    </a:cxn>
                  </a:cxnLst>
                  <a:rect l="0" t="0" r="r" b="b"/>
                  <a:pathLst>
                    <a:path w="190" h="320">
                      <a:moveTo>
                        <a:pt x="96" y="288"/>
                      </a:moveTo>
                      <a:cubicBezTo>
                        <a:pt x="96" y="288"/>
                        <a:pt x="104" y="286"/>
                        <a:pt x="104" y="292"/>
                      </a:cubicBezTo>
                      <a:cubicBezTo>
                        <a:pt x="104" y="292"/>
                        <a:pt x="107" y="302"/>
                        <a:pt x="114" y="294"/>
                      </a:cubicBezTo>
                      <a:cubicBezTo>
                        <a:pt x="114" y="294"/>
                        <a:pt x="122" y="284"/>
                        <a:pt x="126" y="302"/>
                      </a:cubicBezTo>
                      <a:cubicBezTo>
                        <a:pt x="126" y="302"/>
                        <a:pt x="120" y="319"/>
                        <a:pt x="134" y="304"/>
                      </a:cubicBezTo>
                      <a:cubicBezTo>
                        <a:pt x="134" y="304"/>
                        <a:pt x="148" y="291"/>
                        <a:pt x="151" y="309"/>
                      </a:cubicBezTo>
                      <a:cubicBezTo>
                        <a:pt x="151" y="309"/>
                        <a:pt x="155" y="320"/>
                        <a:pt x="165" y="318"/>
                      </a:cubicBezTo>
                      <a:cubicBezTo>
                        <a:pt x="165" y="318"/>
                        <a:pt x="174" y="316"/>
                        <a:pt x="180" y="320"/>
                      </a:cubicBezTo>
                      <a:cubicBezTo>
                        <a:pt x="182" y="309"/>
                        <a:pt x="175" y="303"/>
                        <a:pt x="175" y="303"/>
                      </a:cubicBezTo>
                      <a:cubicBezTo>
                        <a:pt x="166" y="294"/>
                        <a:pt x="169" y="266"/>
                        <a:pt x="169" y="266"/>
                      </a:cubicBezTo>
                      <a:cubicBezTo>
                        <a:pt x="165" y="249"/>
                        <a:pt x="169" y="223"/>
                        <a:pt x="169" y="223"/>
                      </a:cubicBezTo>
                      <a:cubicBezTo>
                        <a:pt x="175" y="216"/>
                        <a:pt x="166" y="201"/>
                        <a:pt x="173" y="188"/>
                      </a:cubicBezTo>
                      <a:cubicBezTo>
                        <a:pt x="179" y="170"/>
                        <a:pt x="171" y="153"/>
                        <a:pt x="171" y="153"/>
                      </a:cubicBezTo>
                      <a:cubicBezTo>
                        <a:pt x="166" y="139"/>
                        <a:pt x="172" y="134"/>
                        <a:pt x="172" y="134"/>
                      </a:cubicBezTo>
                      <a:cubicBezTo>
                        <a:pt x="172" y="134"/>
                        <a:pt x="178" y="128"/>
                        <a:pt x="178" y="111"/>
                      </a:cubicBezTo>
                      <a:cubicBezTo>
                        <a:pt x="175" y="109"/>
                        <a:pt x="179" y="100"/>
                        <a:pt x="179" y="100"/>
                      </a:cubicBezTo>
                      <a:cubicBezTo>
                        <a:pt x="184" y="93"/>
                        <a:pt x="178" y="89"/>
                        <a:pt x="178" y="89"/>
                      </a:cubicBezTo>
                      <a:cubicBezTo>
                        <a:pt x="168" y="65"/>
                        <a:pt x="182" y="55"/>
                        <a:pt x="182" y="55"/>
                      </a:cubicBezTo>
                      <a:cubicBezTo>
                        <a:pt x="182" y="32"/>
                        <a:pt x="190" y="42"/>
                        <a:pt x="189" y="24"/>
                      </a:cubicBezTo>
                      <a:cubicBezTo>
                        <a:pt x="182" y="22"/>
                        <a:pt x="188" y="0"/>
                        <a:pt x="178" y="10"/>
                      </a:cubicBezTo>
                      <a:cubicBezTo>
                        <a:pt x="170" y="2"/>
                        <a:pt x="159" y="5"/>
                        <a:pt x="159" y="5"/>
                      </a:cubicBezTo>
                      <a:cubicBezTo>
                        <a:pt x="150" y="3"/>
                        <a:pt x="144" y="12"/>
                        <a:pt x="144" y="12"/>
                      </a:cubicBezTo>
                      <a:cubicBezTo>
                        <a:pt x="137" y="20"/>
                        <a:pt x="120" y="20"/>
                        <a:pt x="120" y="20"/>
                      </a:cubicBezTo>
                      <a:cubicBezTo>
                        <a:pt x="110" y="26"/>
                        <a:pt x="98" y="7"/>
                        <a:pt x="96" y="23"/>
                      </a:cubicBezTo>
                      <a:cubicBezTo>
                        <a:pt x="98" y="31"/>
                        <a:pt x="83" y="45"/>
                        <a:pt x="83" y="45"/>
                      </a:cubicBezTo>
                      <a:cubicBezTo>
                        <a:pt x="94" y="56"/>
                        <a:pt x="83" y="65"/>
                        <a:pt x="83" y="65"/>
                      </a:cubicBezTo>
                      <a:cubicBezTo>
                        <a:pt x="83" y="72"/>
                        <a:pt x="69" y="73"/>
                        <a:pt x="69" y="73"/>
                      </a:cubicBezTo>
                      <a:cubicBezTo>
                        <a:pt x="39" y="72"/>
                        <a:pt x="46" y="85"/>
                        <a:pt x="46" y="85"/>
                      </a:cubicBezTo>
                      <a:cubicBezTo>
                        <a:pt x="53" y="93"/>
                        <a:pt x="39" y="93"/>
                        <a:pt x="39" y="93"/>
                      </a:cubicBezTo>
                      <a:cubicBezTo>
                        <a:pt x="30" y="115"/>
                        <a:pt x="24" y="111"/>
                        <a:pt x="24" y="111"/>
                      </a:cubicBezTo>
                      <a:cubicBezTo>
                        <a:pt x="19" y="118"/>
                        <a:pt x="9" y="112"/>
                        <a:pt x="4" y="120"/>
                      </a:cubicBezTo>
                      <a:cubicBezTo>
                        <a:pt x="1" y="122"/>
                        <a:pt x="0" y="130"/>
                        <a:pt x="0" y="130"/>
                      </a:cubicBezTo>
                      <a:cubicBezTo>
                        <a:pt x="0" y="130"/>
                        <a:pt x="11" y="150"/>
                        <a:pt x="11" y="172"/>
                      </a:cubicBezTo>
                      <a:cubicBezTo>
                        <a:pt x="11" y="172"/>
                        <a:pt x="17" y="182"/>
                        <a:pt x="12" y="185"/>
                      </a:cubicBezTo>
                      <a:cubicBezTo>
                        <a:pt x="12" y="185"/>
                        <a:pt x="7" y="192"/>
                        <a:pt x="9" y="200"/>
                      </a:cubicBezTo>
                      <a:cubicBezTo>
                        <a:pt x="9" y="200"/>
                        <a:pt x="24" y="199"/>
                        <a:pt x="25" y="206"/>
                      </a:cubicBezTo>
                      <a:cubicBezTo>
                        <a:pt x="25" y="206"/>
                        <a:pt x="28" y="213"/>
                        <a:pt x="14" y="214"/>
                      </a:cubicBezTo>
                      <a:cubicBezTo>
                        <a:pt x="31" y="217"/>
                        <a:pt x="22" y="228"/>
                        <a:pt x="28" y="230"/>
                      </a:cubicBezTo>
                      <a:cubicBezTo>
                        <a:pt x="28" y="230"/>
                        <a:pt x="39" y="221"/>
                        <a:pt x="37" y="236"/>
                      </a:cubicBezTo>
                      <a:cubicBezTo>
                        <a:pt x="37" y="236"/>
                        <a:pt x="35" y="258"/>
                        <a:pt x="45" y="245"/>
                      </a:cubicBezTo>
                      <a:cubicBezTo>
                        <a:pt x="45" y="245"/>
                        <a:pt x="52" y="230"/>
                        <a:pt x="53" y="254"/>
                      </a:cubicBezTo>
                      <a:cubicBezTo>
                        <a:pt x="53" y="254"/>
                        <a:pt x="45" y="273"/>
                        <a:pt x="68" y="254"/>
                      </a:cubicBezTo>
                      <a:cubicBezTo>
                        <a:pt x="68" y="254"/>
                        <a:pt x="79" y="248"/>
                        <a:pt x="82" y="262"/>
                      </a:cubicBezTo>
                      <a:cubicBezTo>
                        <a:pt x="82" y="262"/>
                        <a:pt x="99" y="267"/>
                        <a:pt x="96" y="288"/>
                      </a:cubicBezTo>
                      <a:cubicBezTo>
                        <a:pt x="96" y="288"/>
                        <a:pt x="96" y="288"/>
                        <a:pt x="96" y="288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1" name="Freeform 55"/>
                <p:cNvSpPr>
                  <a:spLocks/>
                </p:cNvSpPr>
                <p:nvPr/>
              </p:nvSpPr>
              <p:spPr bwMode="auto">
                <a:xfrm>
                  <a:off x="985275" y="2301233"/>
                  <a:ext cx="796236" cy="760638"/>
                </a:xfrm>
                <a:custGeom>
                  <a:avLst/>
                  <a:gdLst/>
                  <a:ahLst/>
                  <a:cxnLst>
                    <a:cxn ang="0">
                      <a:pos x="45" y="236"/>
                    </a:cxn>
                    <a:cxn ang="0">
                      <a:pos x="36" y="206"/>
                    </a:cxn>
                    <a:cxn ang="0">
                      <a:pos x="37" y="194"/>
                    </a:cxn>
                    <a:cxn ang="0">
                      <a:pos x="53" y="194"/>
                    </a:cxn>
                    <a:cxn ang="0">
                      <a:pos x="29" y="149"/>
                    </a:cxn>
                    <a:cxn ang="0">
                      <a:pos x="20" y="126"/>
                    </a:cxn>
                    <a:cxn ang="0">
                      <a:pos x="9" y="107"/>
                    </a:cxn>
                    <a:cxn ang="0">
                      <a:pos x="12" y="87"/>
                    </a:cxn>
                    <a:cxn ang="0">
                      <a:pos x="12" y="87"/>
                    </a:cxn>
                    <a:cxn ang="0">
                      <a:pos x="5" y="63"/>
                    </a:cxn>
                    <a:cxn ang="0">
                      <a:pos x="5" y="63"/>
                    </a:cxn>
                    <a:cxn ang="0">
                      <a:pos x="18" y="46"/>
                    </a:cxn>
                    <a:cxn ang="0">
                      <a:pos x="42" y="52"/>
                    </a:cxn>
                    <a:cxn ang="0">
                      <a:pos x="60" y="50"/>
                    </a:cxn>
                    <a:cxn ang="0">
                      <a:pos x="84" y="32"/>
                    </a:cxn>
                    <a:cxn ang="0">
                      <a:pos x="93" y="15"/>
                    </a:cxn>
                    <a:cxn ang="0">
                      <a:pos x="129" y="10"/>
                    </a:cxn>
                    <a:cxn ang="0">
                      <a:pos x="178" y="7"/>
                    </a:cxn>
                    <a:cxn ang="0">
                      <a:pos x="206" y="12"/>
                    </a:cxn>
                    <a:cxn ang="0">
                      <a:pos x="225" y="14"/>
                    </a:cxn>
                    <a:cxn ang="0">
                      <a:pos x="228" y="26"/>
                    </a:cxn>
                    <a:cxn ang="0">
                      <a:pos x="225" y="39"/>
                    </a:cxn>
                    <a:cxn ang="0">
                      <a:pos x="218" y="54"/>
                    </a:cxn>
                    <a:cxn ang="0">
                      <a:pos x="221" y="74"/>
                    </a:cxn>
                    <a:cxn ang="0">
                      <a:pos x="222" y="85"/>
                    </a:cxn>
                    <a:cxn ang="0">
                      <a:pos x="218" y="114"/>
                    </a:cxn>
                    <a:cxn ang="0">
                      <a:pos x="229" y="116"/>
                    </a:cxn>
                    <a:cxn ang="0">
                      <a:pos x="248" y="126"/>
                    </a:cxn>
                    <a:cxn ang="0">
                      <a:pos x="259" y="143"/>
                    </a:cxn>
                    <a:cxn ang="0">
                      <a:pos x="267" y="162"/>
                    </a:cxn>
                    <a:cxn ang="0">
                      <a:pos x="258" y="174"/>
                    </a:cxn>
                    <a:cxn ang="0">
                      <a:pos x="272" y="186"/>
                    </a:cxn>
                    <a:cxn ang="0">
                      <a:pos x="257" y="195"/>
                    </a:cxn>
                    <a:cxn ang="0">
                      <a:pos x="259" y="210"/>
                    </a:cxn>
                    <a:cxn ang="0">
                      <a:pos x="249" y="221"/>
                    </a:cxn>
                    <a:cxn ang="0">
                      <a:pos x="245" y="235"/>
                    </a:cxn>
                    <a:cxn ang="0">
                      <a:pos x="232" y="247"/>
                    </a:cxn>
                    <a:cxn ang="0">
                      <a:pos x="217" y="238"/>
                    </a:cxn>
                    <a:cxn ang="0">
                      <a:pos x="199" y="243"/>
                    </a:cxn>
                    <a:cxn ang="0">
                      <a:pos x="182" y="247"/>
                    </a:cxn>
                    <a:cxn ang="0">
                      <a:pos x="170" y="260"/>
                    </a:cxn>
                    <a:cxn ang="0">
                      <a:pos x="157" y="280"/>
                    </a:cxn>
                    <a:cxn ang="0">
                      <a:pos x="157" y="295"/>
                    </a:cxn>
                    <a:cxn ang="0">
                      <a:pos x="148" y="304"/>
                    </a:cxn>
                    <a:cxn ang="0">
                      <a:pos x="139" y="294"/>
                    </a:cxn>
                    <a:cxn ang="0">
                      <a:pos x="118" y="294"/>
                    </a:cxn>
                    <a:cxn ang="0">
                      <a:pos x="103" y="284"/>
                    </a:cxn>
                    <a:cxn ang="0">
                      <a:pos x="89" y="276"/>
                    </a:cxn>
                    <a:cxn ang="0">
                      <a:pos x="81" y="271"/>
                    </a:cxn>
                    <a:cxn ang="0">
                      <a:pos x="88" y="258"/>
                    </a:cxn>
                    <a:cxn ang="0">
                      <a:pos x="78" y="250"/>
                    </a:cxn>
                    <a:cxn ang="0">
                      <a:pos x="63" y="246"/>
                    </a:cxn>
                    <a:cxn ang="0">
                      <a:pos x="45" y="236"/>
                    </a:cxn>
                    <a:cxn ang="0">
                      <a:pos x="45" y="236"/>
                    </a:cxn>
                  </a:cxnLst>
                  <a:rect l="0" t="0" r="r" b="b"/>
                  <a:pathLst>
                    <a:path w="281" h="304">
                      <a:moveTo>
                        <a:pt x="45" y="236"/>
                      </a:moveTo>
                      <a:cubicBezTo>
                        <a:pt x="45" y="227"/>
                        <a:pt x="42" y="216"/>
                        <a:pt x="36" y="206"/>
                      </a:cubicBezTo>
                      <a:cubicBezTo>
                        <a:pt x="36" y="206"/>
                        <a:pt x="24" y="198"/>
                        <a:pt x="37" y="194"/>
                      </a:cubicBezTo>
                      <a:cubicBezTo>
                        <a:pt x="37" y="194"/>
                        <a:pt x="43" y="192"/>
                        <a:pt x="53" y="194"/>
                      </a:cubicBezTo>
                      <a:cubicBezTo>
                        <a:pt x="53" y="184"/>
                        <a:pt x="32" y="184"/>
                        <a:pt x="29" y="149"/>
                      </a:cubicBezTo>
                      <a:cubicBezTo>
                        <a:pt x="23" y="143"/>
                        <a:pt x="31" y="128"/>
                        <a:pt x="20" y="126"/>
                      </a:cubicBezTo>
                      <a:cubicBezTo>
                        <a:pt x="8" y="124"/>
                        <a:pt x="14" y="108"/>
                        <a:pt x="9" y="107"/>
                      </a:cubicBezTo>
                      <a:cubicBezTo>
                        <a:pt x="9" y="107"/>
                        <a:pt x="0" y="103"/>
                        <a:pt x="12" y="87"/>
                      </a:cubicBezTo>
                      <a:cubicBezTo>
                        <a:pt x="12" y="87"/>
                        <a:pt x="12" y="87"/>
                        <a:pt x="12" y="87"/>
                      </a:cubicBezTo>
                      <a:cubicBezTo>
                        <a:pt x="5" y="63"/>
                        <a:pt x="5" y="63"/>
                        <a:pt x="5" y="63"/>
                      </a:cubicBezTo>
                      <a:cubicBezTo>
                        <a:pt x="5" y="63"/>
                        <a:pt x="5" y="63"/>
                        <a:pt x="5" y="63"/>
                      </a:cubicBezTo>
                      <a:cubicBezTo>
                        <a:pt x="5" y="63"/>
                        <a:pt x="6" y="45"/>
                        <a:pt x="18" y="46"/>
                      </a:cubicBezTo>
                      <a:cubicBezTo>
                        <a:pt x="18" y="46"/>
                        <a:pt x="38" y="44"/>
                        <a:pt x="42" y="52"/>
                      </a:cubicBezTo>
                      <a:cubicBezTo>
                        <a:pt x="42" y="52"/>
                        <a:pt x="37" y="68"/>
                        <a:pt x="60" y="50"/>
                      </a:cubicBezTo>
                      <a:cubicBezTo>
                        <a:pt x="60" y="50"/>
                        <a:pt x="75" y="43"/>
                        <a:pt x="84" y="32"/>
                      </a:cubicBezTo>
                      <a:cubicBezTo>
                        <a:pt x="84" y="32"/>
                        <a:pt x="86" y="22"/>
                        <a:pt x="93" y="15"/>
                      </a:cubicBezTo>
                      <a:cubicBezTo>
                        <a:pt x="93" y="15"/>
                        <a:pt x="96" y="3"/>
                        <a:pt x="129" y="10"/>
                      </a:cubicBezTo>
                      <a:cubicBezTo>
                        <a:pt x="129" y="10"/>
                        <a:pt x="163" y="15"/>
                        <a:pt x="178" y="7"/>
                      </a:cubicBezTo>
                      <a:cubicBezTo>
                        <a:pt x="204" y="0"/>
                        <a:pt x="196" y="8"/>
                        <a:pt x="206" y="12"/>
                      </a:cubicBezTo>
                      <a:cubicBezTo>
                        <a:pt x="206" y="12"/>
                        <a:pt x="213" y="13"/>
                        <a:pt x="225" y="14"/>
                      </a:cubicBezTo>
                      <a:cubicBezTo>
                        <a:pt x="224" y="23"/>
                        <a:pt x="228" y="26"/>
                        <a:pt x="228" y="26"/>
                      </a:cubicBezTo>
                      <a:cubicBezTo>
                        <a:pt x="236" y="25"/>
                        <a:pt x="233" y="41"/>
                        <a:pt x="225" y="39"/>
                      </a:cubicBezTo>
                      <a:cubicBezTo>
                        <a:pt x="221" y="45"/>
                        <a:pt x="218" y="54"/>
                        <a:pt x="218" y="54"/>
                      </a:cubicBezTo>
                      <a:cubicBezTo>
                        <a:pt x="214" y="68"/>
                        <a:pt x="221" y="74"/>
                        <a:pt x="221" y="74"/>
                      </a:cubicBezTo>
                      <a:cubicBezTo>
                        <a:pt x="228" y="80"/>
                        <a:pt x="222" y="85"/>
                        <a:pt x="222" y="85"/>
                      </a:cubicBezTo>
                      <a:cubicBezTo>
                        <a:pt x="223" y="107"/>
                        <a:pt x="218" y="114"/>
                        <a:pt x="218" y="114"/>
                      </a:cubicBezTo>
                      <a:cubicBezTo>
                        <a:pt x="221" y="130"/>
                        <a:pt x="229" y="116"/>
                        <a:pt x="229" y="116"/>
                      </a:cubicBezTo>
                      <a:cubicBezTo>
                        <a:pt x="246" y="110"/>
                        <a:pt x="248" y="126"/>
                        <a:pt x="248" y="126"/>
                      </a:cubicBezTo>
                      <a:cubicBezTo>
                        <a:pt x="252" y="141"/>
                        <a:pt x="259" y="143"/>
                        <a:pt x="259" y="143"/>
                      </a:cubicBezTo>
                      <a:cubicBezTo>
                        <a:pt x="281" y="162"/>
                        <a:pt x="267" y="162"/>
                        <a:pt x="267" y="162"/>
                      </a:cubicBezTo>
                      <a:cubicBezTo>
                        <a:pt x="258" y="165"/>
                        <a:pt x="258" y="174"/>
                        <a:pt x="258" y="174"/>
                      </a:cubicBezTo>
                      <a:cubicBezTo>
                        <a:pt x="276" y="173"/>
                        <a:pt x="272" y="186"/>
                        <a:pt x="272" y="186"/>
                      </a:cubicBezTo>
                      <a:cubicBezTo>
                        <a:pt x="273" y="196"/>
                        <a:pt x="257" y="192"/>
                        <a:pt x="257" y="195"/>
                      </a:cubicBezTo>
                      <a:cubicBezTo>
                        <a:pt x="271" y="205"/>
                        <a:pt x="259" y="210"/>
                        <a:pt x="259" y="210"/>
                      </a:cubicBezTo>
                      <a:cubicBezTo>
                        <a:pt x="260" y="217"/>
                        <a:pt x="249" y="221"/>
                        <a:pt x="249" y="221"/>
                      </a:cubicBezTo>
                      <a:cubicBezTo>
                        <a:pt x="242" y="225"/>
                        <a:pt x="245" y="235"/>
                        <a:pt x="245" y="235"/>
                      </a:cubicBezTo>
                      <a:cubicBezTo>
                        <a:pt x="246" y="258"/>
                        <a:pt x="232" y="247"/>
                        <a:pt x="232" y="247"/>
                      </a:cubicBezTo>
                      <a:cubicBezTo>
                        <a:pt x="224" y="247"/>
                        <a:pt x="225" y="237"/>
                        <a:pt x="217" y="238"/>
                      </a:cubicBezTo>
                      <a:cubicBezTo>
                        <a:pt x="210" y="236"/>
                        <a:pt x="210" y="243"/>
                        <a:pt x="199" y="243"/>
                      </a:cubicBezTo>
                      <a:cubicBezTo>
                        <a:pt x="184" y="239"/>
                        <a:pt x="182" y="247"/>
                        <a:pt x="182" y="247"/>
                      </a:cubicBezTo>
                      <a:cubicBezTo>
                        <a:pt x="177" y="252"/>
                        <a:pt x="181" y="265"/>
                        <a:pt x="170" y="260"/>
                      </a:cubicBezTo>
                      <a:cubicBezTo>
                        <a:pt x="153" y="257"/>
                        <a:pt x="157" y="280"/>
                        <a:pt x="157" y="280"/>
                      </a:cubicBezTo>
                      <a:cubicBezTo>
                        <a:pt x="168" y="291"/>
                        <a:pt x="157" y="295"/>
                        <a:pt x="157" y="295"/>
                      </a:cubicBezTo>
                      <a:cubicBezTo>
                        <a:pt x="155" y="301"/>
                        <a:pt x="148" y="304"/>
                        <a:pt x="148" y="304"/>
                      </a:cubicBezTo>
                      <a:cubicBezTo>
                        <a:pt x="148" y="304"/>
                        <a:pt x="149" y="297"/>
                        <a:pt x="139" y="294"/>
                      </a:cubicBezTo>
                      <a:cubicBezTo>
                        <a:pt x="139" y="294"/>
                        <a:pt x="128" y="289"/>
                        <a:pt x="118" y="294"/>
                      </a:cubicBezTo>
                      <a:cubicBezTo>
                        <a:pt x="118" y="294"/>
                        <a:pt x="107" y="299"/>
                        <a:pt x="103" y="284"/>
                      </a:cubicBezTo>
                      <a:cubicBezTo>
                        <a:pt x="103" y="284"/>
                        <a:pt x="100" y="277"/>
                        <a:pt x="89" y="276"/>
                      </a:cubicBezTo>
                      <a:cubicBezTo>
                        <a:pt x="89" y="276"/>
                        <a:pt x="82" y="280"/>
                        <a:pt x="81" y="271"/>
                      </a:cubicBezTo>
                      <a:cubicBezTo>
                        <a:pt x="74" y="266"/>
                        <a:pt x="90" y="264"/>
                        <a:pt x="88" y="258"/>
                      </a:cubicBezTo>
                      <a:cubicBezTo>
                        <a:pt x="88" y="258"/>
                        <a:pt x="87" y="250"/>
                        <a:pt x="78" y="250"/>
                      </a:cubicBezTo>
                      <a:cubicBezTo>
                        <a:pt x="78" y="250"/>
                        <a:pt x="74" y="243"/>
                        <a:pt x="63" y="246"/>
                      </a:cubicBezTo>
                      <a:cubicBezTo>
                        <a:pt x="63" y="246"/>
                        <a:pt x="54" y="247"/>
                        <a:pt x="45" y="236"/>
                      </a:cubicBezTo>
                      <a:cubicBezTo>
                        <a:pt x="45" y="236"/>
                        <a:pt x="45" y="236"/>
                        <a:pt x="45" y="236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2" name="Freeform 54"/>
                <p:cNvSpPr>
                  <a:spLocks/>
                </p:cNvSpPr>
                <p:nvPr/>
              </p:nvSpPr>
              <p:spPr bwMode="auto">
                <a:xfrm>
                  <a:off x="1393601" y="2324039"/>
                  <a:ext cx="916012" cy="877349"/>
                </a:xfrm>
                <a:custGeom>
                  <a:avLst/>
                  <a:gdLst/>
                  <a:ahLst/>
                  <a:cxnLst>
                    <a:cxn ang="0">
                      <a:pos x="83" y="17"/>
                    </a:cxn>
                    <a:cxn ang="0">
                      <a:pos x="73" y="45"/>
                    </a:cxn>
                    <a:cxn ang="0">
                      <a:pos x="77" y="76"/>
                    </a:cxn>
                    <a:cxn ang="0">
                      <a:pos x="84" y="107"/>
                    </a:cxn>
                    <a:cxn ang="0">
                      <a:pos x="114" y="134"/>
                    </a:cxn>
                    <a:cxn ang="0">
                      <a:pos x="113" y="165"/>
                    </a:cxn>
                    <a:cxn ang="0">
                      <a:pos x="112" y="186"/>
                    </a:cxn>
                    <a:cxn ang="0">
                      <a:pos x="104" y="212"/>
                    </a:cxn>
                    <a:cxn ang="0">
                      <a:pos x="87" y="238"/>
                    </a:cxn>
                    <a:cxn ang="0">
                      <a:pos x="54" y="234"/>
                    </a:cxn>
                    <a:cxn ang="0">
                      <a:pos x="25" y="251"/>
                    </a:cxn>
                    <a:cxn ang="0">
                      <a:pos x="12" y="286"/>
                    </a:cxn>
                    <a:cxn ang="0">
                      <a:pos x="17" y="299"/>
                    </a:cxn>
                    <a:cxn ang="0">
                      <a:pos x="17" y="335"/>
                    </a:cxn>
                    <a:cxn ang="0">
                      <a:pos x="32" y="351"/>
                    </a:cxn>
                    <a:cxn ang="0">
                      <a:pos x="45" y="329"/>
                    </a:cxn>
                    <a:cxn ang="0">
                      <a:pos x="93" y="318"/>
                    </a:cxn>
                    <a:cxn ang="0">
                      <a:pos x="127" y="316"/>
                    </a:cxn>
                    <a:cxn ang="0">
                      <a:pos x="146" y="326"/>
                    </a:cxn>
                    <a:cxn ang="0">
                      <a:pos x="176" y="306"/>
                    </a:cxn>
                    <a:cxn ang="0">
                      <a:pos x="216" y="272"/>
                    </a:cxn>
                    <a:cxn ang="0">
                      <a:pos x="251" y="268"/>
                    </a:cxn>
                    <a:cxn ang="0">
                      <a:pos x="256" y="245"/>
                    </a:cxn>
                    <a:cxn ang="0">
                      <a:pos x="256" y="207"/>
                    </a:cxn>
                    <a:cxn ang="0">
                      <a:pos x="272" y="168"/>
                    </a:cxn>
                    <a:cxn ang="0">
                      <a:pos x="280" y="151"/>
                    </a:cxn>
                    <a:cxn ang="0">
                      <a:pos x="286" y="132"/>
                    </a:cxn>
                    <a:cxn ang="0">
                      <a:pos x="292" y="107"/>
                    </a:cxn>
                    <a:cxn ang="0">
                      <a:pos x="306" y="101"/>
                    </a:cxn>
                    <a:cxn ang="0">
                      <a:pos x="322" y="85"/>
                    </a:cxn>
                    <a:cxn ang="0">
                      <a:pos x="270" y="70"/>
                    </a:cxn>
                    <a:cxn ang="0">
                      <a:pos x="263" y="52"/>
                    </a:cxn>
                    <a:cxn ang="0">
                      <a:pos x="253" y="45"/>
                    </a:cxn>
                    <a:cxn ang="0">
                      <a:pos x="234" y="46"/>
                    </a:cxn>
                    <a:cxn ang="0">
                      <a:pos x="181" y="28"/>
                    </a:cxn>
                    <a:cxn ang="0">
                      <a:pos x="148" y="17"/>
                    </a:cxn>
                    <a:cxn ang="0">
                      <a:pos x="105" y="5"/>
                    </a:cxn>
                    <a:cxn ang="0">
                      <a:pos x="80" y="4"/>
                    </a:cxn>
                  </a:cxnLst>
                  <a:rect l="0" t="0" r="r" b="b"/>
                  <a:pathLst>
                    <a:path w="323" h="351">
                      <a:moveTo>
                        <a:pt x="80" y="4"/>
                      </a:moveTo>
                      <a:cubicBezTo>
                        <a:pt x="79" y="13"/>
                        <a:pt x="83" y="17"/>
                        <a:pt x="83" y="17"/>
                      </a:cubicBezTo>
                      <a:cubicBezTo>
                        <a:pt x="91" y="16"/>
                        <a:pt x="88" y="32"/>
                        <a:pt x="80" y="30"/>
                      </a:cubicBezTo>
                      <a:cubicBezTo>
                        <a:pt x="76" y="36"/>
                        <a:pt x="73" y="45"/>
                        <a:pt x="73" y="45"/>
                      </a:cubicBezTo>
                      <a:cubicBezTo>
                        <a:pt x="69" y="59"/>
                        <a:pt x="76" y="65"/>
                        <a:pt x="76" y="65"/>
                      </a:cubicBezTo>
                      <a:cubicBezTo>
                        <a:pt x="83" y="71"/>
                        <a:pt x="77" y="76"/>
                        <a:pt x="77" y="76"/>
                      </a:cubicBezTo>
                      <a:cubicBezTo>
                        <a:pt x="78" y="98"/>
                        <a:pt x="73" y="105"/>
                        <a:pt x="73" y="105"/>
                      </a:cubicBezTo>
                      <a:cubicBezTo>
                        <a:pt x="76" y="121"/>
                        <a:pt x="84" y="107"/>
                        <a:pt x="84" y="107"/>
                      </a:cubicBezTo>
                      <a:cubicBezTo>
                        <a:pt x="101" y="101"/>
                        <a:pt x="103" y="117"/>
                        <a:pt x="103" y="117"/>
                      </a:cubicBezTo>
                      <a:cubicBezTo>
                        <a:pt x="107" y="132"/>
                        <a:pt x="114" y="134"/>
                        <a:pt x="114" y="134"/>
                      </a:cubicBezTo>
                      <a:cubicBezTo>
                        <a:pt x="136" y="153"/>
                        <a:pt x="122" y="153"/>
                        <a:pt x="122" y="153"/>
                      </a:cubicBezTo>
                      <a:cubicBezTo>
                        <a:pt x="113" y="156"/>
                        <a:pt x="113" y="165"/>
                        <a:pt x="113" y="165"/>
                      </a:cubicBezTo>
                      <a:cubicBezTo>
                        <a:pt x="131" y="164"/>
                        <a:pt x="127" y="177"/>
                        <a:pt x="127" y="177"/>
                      </a:cubicBezTo>
                      <a:cubicBezTo>
                        <a:pt x="128" y="187"/>
                        <a:pt x="112" y="183"/>
                        <a:pt x="112" y="186"/>
                      </a:cubicBezTo>
                      <a:cubicBezTo>
                        <a:pt x="126" y="196"/>
                        <a:pt x="114" y="201"/>
                        <a:pt x="114" y="201"/>
                      </a:cubicBezTo>
                      <a:cubicBezTo>
                        <a:pt x="115" y="208"/>
                        <a:pt x="104" y="212"/>
                        <a:pt x="104" y="212"/>
                      </a:cubicBezTo>
                      <a:cubicBezTo>
                        <a:pt x="97" y="216"/>
                        <a:pt x="100" y="226"/>
                        <a:pt x="100" y="226"/>
                      </a:cubicBezTo>
                      <a:cubicBezTo>
                        <a:pt x="101" y="249"/>
                        <a:pt x="87" y="238"/>
                        <a:pt x="87" y="238"/>
                      </a:cubicBezTo>
                      <a:cubicBezTo>
                        <a:pt x="79" y="238"/>
                        <a:pt x="80" y="228"/>
                        <a:pt x="72" y="229"/>
                      </a:cubicBezTo>
                      <a:cubicBezTo>
                        <a:pt x="65" y="227"/>
                        <a:pt x="65" y="234"/>
                        <a:pt x="54" y="234"/>
                      </a:cubicBezTo>
                      <a:cubicBezTo>
                        <a:pt x="39" y="230"/>
                        <a:pt x="37" y="238"/>
                        <a:pt x="37" y="238"/>
                      </a:cubicBezTo>
                      <a:cubicBezTo>
                        <a:pt x="32" y="243"/>
                        <a:pt x="36" y="256"/>
                        <a:pt x="25" y="251"/>
                      </a:cubicBezTo>
                      <a:cubicBezTo>
                        <a:pt x="8" y="248"/>
                        <a:pt x="12" y="271"/>
                        <a:pt x="12" y="271"/>
                      </a:cubicBezTo>
                      <a:cubicBezTo>
                        <a:pt x="23" y="282"/>
                        <a:pt x="12" y="286"/>
                        <a:pt x="12" y="286"/>
                      </a:cubicBezTo>
                      <a:cubicBezTo>
                        <a:pt x="10" y="292"/>
                        <a:pt x="3" y="295"/>
                        <a:pt x="3" y="295"/>
                      </a:cubicBezTo>
                      <a:cubicBezTo>
                        <a:pt x="0" y="302"/>
                        <a:pt x="17" y="299"/>
                        <a:pt x="17" y="299"/>
                      </a:cubicBezTo>
                      <a:cubicBezTo>
                        <a:pt x="21" y="304"/>
                        <a:pt x="14" y="311"/>
                        <a:pt x="14" y="311"/>
                      </a:cubicBezTo>
                      <a:cubicBezTo>
                        <a:pt x="11" y="328"/>
                        <a:pt x="17" y="335"/>
                        <a:pt x="17" y="335"/>
                      </a:cubicBezTo>
                      <a:cubicBezTo>
                        <a:pt x="17" y="335"/>
                        <a:pt x="17" y="335"/>
                        <a:pt x="17" y="335"/>
                      </a:cubicBezTo>
                      <a:cubicBezTo>
                        <a:pt x="32" y="351"/>
                        <a:pt x="32" y="351"/>
                        <a:pt x="32" y="351"/>
                      </a:cubicBezTo>
                      <a:cubicBezTo>
                        <a:pt x="32" y="351"/>
                        <a:pt x="32" y="351"/>
                        <a:pt x="32" y="351"/>
                      </a:cubicBezTo>
                      <a:cubicBezTo>
                        <a:pt x="32" y="351"/>
                        <a:pt x="47" y="337"/>
                        <a:pt x="45" y="329"/>
                      </a:cubicBezTo>
                      <a:cubicBezTo>
                        <a:pt x="47" y="313"/>
                        <a:pt x="59" y="332"/>
                        <a:pt x="69" y="326"/>
                      </a:cubicBezTo>
                      <a:cubicBezTo>
                        <a:pt x="69" y="326"/>
                        <a:pt x="86" y="326"/>
                        <a:pt x="93" y="318"/>
                      </a:cubicBezTo>
                      <a:cubicBezTo>
                        <a:pt x="93" y="318"/>
                        <a:pt x="99" y="309"/>
                        <a:pt x="108" y="311"/>
                      </a:cubicBezTo>
                      <a:cubicBezTo>
                        <a:pt x="108" y="311"/>
                        <a:pt x="119" y="308"/>
                        <a:pt x="127" y="316"/>
                      </a:cubicBezTo>
                      <a:cubicBezTo>
                        <a:pt x="137" y="306"/>
                        <a:pt x="131" y="329"/>
                        <a:pt x="137" y="330"/>
                      </a:cubicBezTo>
                      <a:cubicBezTo>
                        <a:pt x="142" y="330"/>
                        <a:pt x="146" y="326"/>
                        <a:pt x="146" y="326"/>
                      </a:cubicBezTo>
                      <a:cubicBezTo>
                        <a:pt x="153" y="309"/>
                        <a:pt x="158" y="318"/>
                        <a:pt x="158" y="318"/>
                      </a:cubicBezTo>
                      <a:cubicBezTo>
                        <a:pt x="166" y="320"/>
                        <a:pt x="176" y="306"/>
                        <a:pt x="176" y="306"/>
                      </a:cubicBezTo>
                      <a:cubicBezTo>
                        <a:pt x="193" y="295"/>
                        <a:pt x="195" y="285"/>
                        <a:pt x="195" y="285"/>
                      </a:cubicBezTo>
                      <a:cubicBezTo>
                        <a:pt x="205" y="270"/>
                        <a:pt x="216" y="272"/>
                        <a:pt x="216" y="272"/>
                      </a:cubicBezTo>
                      <a:cubicBezTo>
                        <a:pt x="226" y="273"/>
                        <a:pt x="230" y="266"/>
                        <a:pt x="230" y="266"/>
                      </a:cubicBezTo>
                      <a:cubicBezTo>
                        <a:pt x="238" y="257"/>
                        <a:pt x="241" y="271"/>
                        <a:pt x="251" y="268"/>
                      </a:cubicBezTo>
                      <a:cubicBezTo>
                        <a:pt x="258" y="267"/>
                        <a:pt x="253" y="260"/>
                        <a:pt x="253" y="260"/>
                      </a:cubicBezTo>
                      <a:cubicBezTo>
                        <a:pt x="245" y="249"/>
                        <a:pt x="256" y="245"/>
                        <a:pt x="256" y="245"/>
                      </a:cubicBezTo>
                      <a:cubicBezTo>
                        <a:pt x="262" y="233"/>
                        <a:pt x="256" y="227"/>
                        <a:pt x="256" y="227"/>
                      </a:cubicBezTo>
                      <a:cubicBezTo>
                        <a:pt x="252" y="219"/>
                        <a:pt x="260" y="218"/>
                        <a:pt x="256" y="207"/>
                      </a:cubicBezTo>
                      <a:cubicBezTo>
                        <a:pt x="258" y="193"/>
                        <a:pt x="249" y="183"/>
                        <a:pt x="259" y="181"/>
                      </a:cubicBezTo>
                      <a:cubicBezTo>
                        <a:pt x="268" y="179"/>
                        <a:pt x="272" y="168"/>
                        <a:pt x="272" y="168"/>
                      </a:cubicBezTo>
                      <a:cubicBezTo>
                        <a:pt x="272" y="168"/>
                        <a:pt x="272" y="168"/>
                        <a:pt x="272" y="168"/>
                      </a:cubicBezTo>
                      <a:cubicBezTo>
                        <a:pt x="280" y="151"/>
                        <a:pt x="280" y="151"/>
                        <a:pt x="280" y="151"/>
                      </a:cubicBezTo>
                      <a:cubicBezTo>
                        <a:pt x="280" y="151"/>
                        <a:pt x="280" y="151"/>
                        <a:pt x="280" y="151"/>
                      </a:cubicBezTo>
                      <a:cubicBezTo>
                        <a:pt x="289" y="151"/>
                        <a:pt x="286" y="132"/>
                        <a:pt x="286" y="132"/>
                      </a:cubicBezTo>
                      <a:cubicBezTo>
                        <a:pt x="298" y="125"/>
                        <a:pt x="290" y="122"/>
                        <a:pt x="290" y="122"/>
                      </a:cubicBezTo>
                      <a:cubicBezTo>
                        <a:pt x="285" y="111"/>
                        <a:pt x="292" y="107"/>
                        <a:pt x="292" y="107"/>
                      </a:cubicBezTo>
                      <a:cubicBezTo>
                        <a:pt x="293" y="114"/>
                        <a:pt x="292" y="116"/>
                        <a:pt x="302" y="119"/>
                      </a:cubicBezTo>
                      <a:cubicBezTo>
                        <a:pt x="299" y="108"/>
                        <a:pt x="306" y="101"/>
                        <a:pt x="306" y="101"/>
                      </a:cubicBezTo>
                      <a:cubicBezTo>
                        <a:pt x="311" y="93"/>
                        <a:pt x="317" y="98"/>
                        <a:pt x="317" y="98"/>
                      </a:cubicBezTo>
                      <a:cubicBezTo>
                        <a:pt x="314" y="91"/>
                        <a:pt x="322" y="85"/>
                        <a:pt x="322" y="85"/>
                      </a:cubicBezTo>
                      <a:cubicBezTo>
                        <a:pt x="323" y="69"/>
                        <a:pt x="292" y="68"/>
                        <a:pt x="292" y="76"/>
                      </a:cubicBezTo>
                      <a:cubicBezTo>
                        <a:pt x="266" y="79"/>
                        <a:pt x="270" y="70"/>
                        <a:pt x="270" y="70"/>
                      </a:cubicBezTo>
                      <a:cubicBezTo>
                        <a:pt x="278" y="63"/>
                        <a:pt x="266" y="63"/>
                        <a:pt x="266" y="63"/>
                      </a:cubicBezTo>
                      <a:cubicBezTo>
                        <a:pt x="259" y="59"/>
                        <a:pt x="263" y="52"/>
                        <a:pt x="263" y="52"/>
                      </a:cubicBezTo>
                      <a:cubicBezTo>
                        <a:pt x="265" y="45"/>
                        <a:pt x="253" y="45"/>
                        <a:pt x="253" y="45"/>
                      </a:cubicBezTo>
                      <a:cubicBezTo>
                        <a:pt x="253" y="45"/>
                        <a:pt x="253" y="45"/>
                        <a:pt x="253" y="45"/>
                      </a:cubicBezTo>
                      <a:cubicBezTo>
                        <a:pt x="234" y="46"/>
                        <a:pt x="234" y="46"/>
                        <a:pt x="234" y="46"/>
                      </a:cubicBezTo>
                      <a:cubicBezTo>
                        <a:pt x="234" y="46"/>
                        <a:pt x="234" y="46"/>
                        <a:pt x="234" y="46"/>
                      </a:cubicBezTo>
                      <a:cubicBezTo>
                        <a:pt x="220" y="44"/>
                        <a:pt x="216" y="31"/>
                        <a:pt x="191" y="32"/>
                      </a:cubicBezTo>
                      <a:cubicBezTo>
                        <a:pt x="179" y="33"/>
                        <a:pt x="181" y="28"/>
                        <a:pt x="181" y="28"/>
                      </a:cubicBezTo>
                      <a:cubicBezTo>
                        <a:pt x="179" y="20"/>
                        <a:pt x="162" y="21"/>
                        <a:pt x="162" y="21"/>
                      </a:cubicBezTo>
                      <a:cubicBezTo>
                        <a:pt x="148" y="24"/>
                        <a:pt x="148" y="17"/>
                        <a:pt x="148" y="17"/>
                      </a:cubicBezTo>
                      <a:cubicBezTo>
                        <a:pt x="145" y="7"/>
                        <a:pt x="128" y="10"/>
                        <a:pt x="128" y="10"/>
                      </a:cubicBezTo>
                      <a:cubicBezTo>
                        <a:pt x="111" y="10"/>
                        <a:pt x="113" y="0"/>
                        <a:pt x="105" y="5"/>
                      </a:cubicBezTo>
                      <a:cubicBezTo>
                        <a:pt x="95" y="6"/>
                        <a:pt x="87" y="4"/>
                        <a:pt x="80" y="4"/>
                      </a:cubicBezTo>
                      <a:cubicBezTo>
                        <a:pt x="80" y="4"/>
                        <a:pt x="80" y="4"/>
                        <a:pt x="80" y="4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3" name="Freeform 53"/>
                <p:cNvSpPr>
                  <a:spLocks/>
                </p:cNvSpPr>
                <p:nvPr/>
              </p:nvSpPr>
              <p:spPr bwMode="auto">
                <a:xfrm>
                  <a:off x="1718901" y="2966623"/>
                  <a:ext cx="596156" cy="973938"/>
                </a:xfrm>
                <a:custGeom>
                  <a:avLst/>
                  <a:gdLst/>
                  <a:ahLst/>
                  <a:cxnLst>
                    <a:cxn ang="0">
                      <a:pos x="138" y="12"/>
                    </a:cxn>
                    <a:cxn ang="0">
                      <a:pos x="142" y="32"/>
                    </a:cxn>
                    <a:cxn ang="0">
                      <a:pos x="146" y="45"/>
                    </a:cxn>
                    <a:cxn ang="0">
                      <a:pos x="161" y="63"/>
                    </a:cxn>
                    <a:cxn ang="0">
                      <a:pos x="178" y="68"/>
                    </a:cxn>
                    <a:cxn ang="0">
                      <a:pos x="182" y="91"/>
                    </a:cxn>
                    <a:cxn ang="0">
                      <a:pos x="178" y="111"/>
                    </a:cxn>
                    <a:cxn ang="0">
                      <a:pos x="171" y="128"/>
                    </a:cxn>
                    <a:cxn ang="0">
                      <a:pos x="183" y="149"/>
                    </a:cxn>
                    <a:cxn ang="0">
                      <a:pos x="204" y="155"/>
                    </a:cxn>
                    <a:cxn ang="0">
                      <a:pos x="199" y="166"/>
                    </a:cxn>
                    <a:cxn ang="0">
                      <a:pos x="199" y="179"/>
                    </a:cxn>
                    <a:cxn ang="0">
                      <a:pos x="195" y="191"/>
                    </a:cxn>
                    <a:cxn ang="0">
                      <a:pos x="196" y="217"/>
                    </a:cxn>
                    <a:cxn ang="0">
                      <a:pos x="203" y="251"/>
                    </a:cxn>
                    <a:cxn ang="0">
                      <a:pos x="182" y="268"/>
                    </a:cxn>
                    <a:cxn ang="0">
                      <a:pos x="153" y="274"/>
                    </a:cxn>
                    <a:cxn ang="0">
                      <a:pos x="142" y="302"/>
                    </a:cxn>
                    <a:cxn ang="0">
                      <a:pos x="140" y="358"/>
                    </a:cxn>
                    <a:cxn ang="0">
                      <a:pos x="125" y="360"/>
                    </a:cxn>
                    <a:cxn ang="0">
                      <a:pos x="98" y="368"/>
                    </a:cxn>
                    <a:cxn ang="0">
                      <a:pos x="83" y="367"/>
                    </a:cxn>
                    <a:cxn ang="0">
                      <a:pos x="70" y="361"/>
                    </a:cxn>
                    <a:cxn ang="0">
                      <a:pos x="48" y="366"/>
                    </a:cxn>
                    <a:cxn ang="0">
                      <a:pos x="48" y="381"/>
                    </a:cxn>
                    <a:cxn ang="0">
                      <a:pos x="32" y="369"/>
                    </a:cxn>
                    <a:cxn ang="0">
                      <a:pos x="32" y="369"/>
                    </a:cxn>
                    <a:cxn ang="0">
                      <a:pos x="15" y="369"/>
                    </a:cxn>
                    <a:cxn ang="0">
                      <a:pos x="15" y="369"/>
                    </a:cxn>
                    <a:cxn ang="0">
                      <a:pos x="10" y="352"/>
                    </a:cxn>
                    <a:cxn ang="0">
                      <a:pos x="4" y="315"/>
                    </a:cxn>
                    <a:cxn ang="0">
                      <a:pos x="4" y="272"/>
                    </a:cxn>
                    <a:cxn ang="0">
                      <a:pos x="8" y="237"/>
                    </a:cxn>
                    <a:cxn ang="0">
                      <a:pos x="6" y="202"/>
                    </a:cxn>
                    <a:cxn ang="0">
                      <a:pos x="7" y="183"/>
                    </a:cxn>
                    <a:cxn ang="0">
                      <a:pos x="13" y="160"/>
                    </a:cxn>
                    <a:cxn ang="0">
                      <a:pos x="14" y="149"/>
                    </a:cxn>
                    <a:cxn ang="0">
                      <a:pos x="13" y="138"/>
                    </a:cxn>
                    <a:cxn ang="0">
                      <a:pos x="17" y="104"/>
                    </a:cxn>
                    <a:cxn ang="0">
                      <a:pos x="24" y="73"/>
                    </a:cxn>
                    <a:cxn ang="0">
                      <a:pos x="32" y="69"/>
                    </a:cxn>
                    <a:cxn ang="0">
                      <a:pos x="44" y="61"/>
                    </a:cxn>
                    <a:cxn ang="0">
                      <a:pos x="62" y="49"/>
                    </a:cxn>
                    <a:cxn ang="0">
                      <a:pos x="81" y="28"/>
                    </a:cxn>
                    <a:cxn ang="0">
                      <a:pos x="102" y="15"/>
                    </a:cxn>
                    <a:cxn ang="0">
                      <a:pos x="116" y="9"/>
                    </a:cxn>
                    <a:cxn ang="0">
                      <a:pos x="138" y="12"/>
                    </a:cxn>
                    <a:cxn ang="0">
                      <a:pos x="138" y="12"/>
                    </a:cxn>
                  </a:cxnLst>
                  <a:rect l="0" t="0" r="r" b="b"/>
                  <a:pathLst>
                    <a:path w="211" h="390">
                      <a:moveTo>
                        <a:pt x="138" y="12"/>
                      </a:moveTo>
                      <a:cubicBezTo>
                        <a:pt x="138" y="21"/>
                        <a:pt x="149" y="19"/>
                        <a:pt x="142" y="32"/>
                      </a:cubicBezTo>
                      <a:cubicBezTo>
                        <a:pt x="142" y="32"/>
                        <a:pt x="134" y="38"/>
                        <a:pt x="146" y="45"/>
                      </a:cubicBezTo>
                      <a:cubicBezTo>
                        <a:pt x="156" y="55"/>
                        <a:pt x="156" y="63"/>
                        <a:pt x="161" y="63"/>
                      </a:cubicBezTo>
                      <a:cubicBezTo>
                        <a:pt x="161" y="63"/>
                        <a:pt x="171" y="78"/>
                        <a:pt x="178" y="68"/>
                      </a:cubicBezTo>
                      <a:cubicBezTo>
                        <a:pt x="178" y="68"/>
                        <a:pt x="182" y="72"/>
                        <a:pt x="182" y="91"/>
                      </a:cubicBezTo>
                      <a:cubicBezTo>
                        <a:pt x="175" y="102"/>
                        <a:pt x="190" y="105"/>
                        <a:pt x="178" y="111"/>
                      </a:cubicBezTo>
                      <a:cubicBezTo>
                        <a:pt x="178" y="111"/>
                        <a:pt x="168" y="110"/>
                        <a:pt x="171" y="128"/>
                      </a:cubicBezTo>
                      <a:cubicBezTo>
                        <a:pt x="171" y="128"/>
                        <a:pt x="171" y="138"/>
                        <a:pt x="183" y="149"/>
                      </a:cubicBezTo>
                      <a:cubicBezTo>
                        <a:pt x="183" y="149"/>
                        <a:pt x="199" y="149"/>
                        <a:pt x="204" y="155"/>
                      </a:cubicBezTo>
                      <a:cubicBezTo>
                        <a:pt x="211" y="162"/>
                        <a:pt x="199" y="166"/>
                        <a:pt x="199" y="166"/>
                      </a:cubicBezTo>
                      <a:cubicBezTo>
                        <a:pt x="188" y="169"/>
                        <a:pt x="199" y="179"/>
                        <a:pt x="199" y="179"/>
                      </a:cubicBezTo>
                      <a:cubicBezTo>
                        <a:pt x="201" y="186"/>
                        <a:pt x="195" y="191"/>
                        <a:pt x="195" y="191"/>
                      </a:cubicBezTo>
                      <a:cubicBezTo>
                        <a:pt x="182" y="204"/>
                        <a:pt x="196" y="217"/>
                        <a:pt x="196" y="217"/>
                      </a:cubicBezTo>
                      <a:cubicBezTo>
                        <a:pt x="205" y="230"/>
                        <a:pt x="203" y="251"/>
                        <a:pt x="203" y="251"/>
                      </a:cubicBezTo>
                      <a:cubicBezTo>
                        <a:pt x="210" y="282"/>
                        <a:pt x="182" y="268"/>
                        <a:pt x="182" y="268"/>
                      </a:cubicBezTo>
                      <a:cubicBezTo>
                        <a:pt x="176" y="259"/>
                        <a:pt x="153" y="267"/>
                        <a:pt x="153" y="274"/>
                      </a:cubicBezTo>
                      <a:cubicBezTo>
                        <a:pt x="156" y="279"/>
                        <a:pt x="141" y="285"/>
                        <a:pt x="142" y="302"/>
                      </a:cubicBezTo>
                      <a:cubicBezTo>
                        <a:pt x="149" y="343"/>
                        <a:pt x="140" y="358"/>
                        <a:pt x="140" y="358"/>
                      </a:cubicBezTo>
                      <a:cubicBezTo>
                        <a:pt x="134" y="364"/>
                        <a:pt x="125" y="360"/>
                        <a:pt x="125" y="360"/>
                      </a:cubicBezTo>
                      <a:cubicBezTo>
                        <a:pt x="112" y="370"/>
                        <a:pt x="98" y="368"/>
                        <a:pt x="98" y="368"/>
                      </a:cubicBezTo>
                      <a:cubicBezTo>
                        <a:pt x="93" y="361"/>
                        <a:pt x="83" y="367"/>
                        <a:pt x="83" y="367"/>
                      </a:cubicBezTo>
                      <a:cubicBezTo>
                        <a:pt x="73" y="375"/>
                        <a:pt x="70" y="361"/>
                        <a:pt x="70" y="361"/>
                      </a:cubicBezTo>
                      <a:cubicBezTo>
                        <a:pt x="57" y="361"/>
                        <a:pt x="48" y="366"/>
                        <a:pt x="48" y="366"/>
                      </a:cubicBezTo>
                      <a:cubicBezTo>
                        <a:pt x="56" y="374"/>
                        <a:pt x="48" y="381"/>
                        <a:pt x="48" y="381"/>
                      </a:cubicBezTo>
                      <a:cubicBezTo>
                        <a:pt x="36" y="390"/>
                        <a:pt x="32" y="369"/>
                        <a:pt x="32" y="369"/>
                      </a:cubicBezTo>
                      <a:cubicBezTo>
                        <a:pt x="32" y="369"/>
                        <a:pt x="32" y="369"/>
                        <a:pt x="32" y="369"/>
                      </a:cubicBezTo>
                      <a:cubicBezTo>
                        <a:pt x="15" y="369"/>
                        <a:pt x="15" y="369"/>
                        <a:pt x="15" y="369"/>
                      </a:cubicBezTo>
                      <a:cubicBezTo>
                        <a:pt x="15" y="369"/>
                        <a:pt x="15" y="369"/>
                        <a:pt x="15" y="369"/>
                      </a:cubicBezTo>
                      <a:cubicBezTo>
                        <a:pt x="17" y="358"/>
                        <a:pt x="10" y="352"/>
                        <a:pt x="10" y="352"/>
                      </a:cubicBezTo>
                      <a:cubicBezTo>
                        <a:pt x="1" y="343"/>
                        <a:pt x="4" y="315"/>
                        <a:pt x="4" y="315"/>
                      </a:cubicBezTo>
                      <a:cubicBezTo>
                        <a:pt x="0" y="298"/>
                        <a:pt x="4" y="272"/>
                        <a:pt x="4" y="272"/>
                      </a:cubicBezTo>
                      <a:cubicBezTo>
                        <a:pt x="10" y="265"/>
                        <a:pt x="1" y="250"/>
                        <a:pt x="8" y="237"/>
                      </a:cubicBezTo>
                      <a:cubicBezTo>
                        <a:pt x="14" y="219"/>
                        <a:pt x="6" y="202"/>
                        <a:pt x="6" y="202"/>
                      </a:cubicBezTo>
                      <a:cubicBezTo>
                        <a:pt x="1" y="188"/>
                        <a:pt x="7" y="183"/>
                        <a:pt x="7" y="183"/>
                      </a:cubicBezTo>
                      <a:cubicBezTo>
                        <a:pt x="7" y="183"/>
                        <a:pt x="13" y="177"/>
                        <a:pt x="13" y="160"/>
                      </a:cubicBezTo>
                      <a:cubicBezTo>
                        <a:pt x="10" y="158"/>
                        <a:pt x="14" y="149"/>
                        <a:pt x="14" y="149"/>
                      </a:cubicBezTo>
                      <a:cubicBezTo>
                        <a:pt x="19" y="142"/>
                        <a:pt x="13" y="138"/>
                        <a:pt x="13" y="138"/>
                      </a:cubicBezTo>
                      <a:cubicBezTo>
                        <a:pt x="3" y="114"/>
                        <a:pt x="17" y="104"/>
                        <a:pt x="17" y="104"/>
                      </a:cubicBezTo>
                      <a:cubicBezTo>
                        <a:pt x="17" y="81"/>
                        <a:pt x="25" y="91"/>
                        <a:pt x="24" y="73"/>
                      </a:cubicBezTo>
                      <a:cubicBezTo>
                        <a:pt x="29" y="73"/>
                        <a:pt x="32" y="69"/>
                        <a:pt x="32" y="69"/>
                      </a:cubicBezTo>
                      <a:cubicBezTo>
                        <a:pt x="39" y="52"/>
                        <a:pt x="44" y="61"/>
                        <a:pt x="44" y="61"/>
                      </a:cubicBezTo>
                      <a:cubicBezTo>
                        <a:pt x="52" y="63"/>
                        <a:pt x="62" y="49"/>
                        <a:pt x="62" y="49"/>
                      </a:cubicBezTo>
                      <a:cubicBezTo>
                        <a:pt x="79" y="38"/>
                        <a:pt x="81" y="28"/>
                        <a:pt x="81" y="28"/>
                      </a:cubicBezTo>
                      <a:cubicBezTo>
                        <a:pt x="91" y="13"/>
                        <a:pt x="102" y="15"/>
                        <a:pt x="102" y="15"/>
                      </a:cubicBezTo>
                      <a:cubicBezTo>
                        <a:pt x="112" y="16"/>
                        <a:pt x="116" y="9"/>
                        <a:pt x="116" y="9"/>
                      </a:cubicBezTo>
                      <a:cubicBezTo>
                        <a:pt x="124" y="0"/>
                        <a:pt x="129" y="14"/>
                        <a:pt x="138" y="12"/>
                      </a:cubicBezTo>
                      <a:cubicBezTo>
                        <a:pt x="138" y="12"/>
                        <a:pt x="138" y="12"/>
                        <a:pt x="138" y="12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4" name="Freeform 52"/>
                <p:cNvSpPr>
                  <a:spLocks/>
                </p:cNvSpPr>
                <p:nvPr/>
              </p:nvSpPr>
              <p:spPr bwMode="auto">
                <a:xfrm>
                  <a:off x="1242521" y="3798361"/>
                  <a:ext cx="922817" cy="414528"/>
                </a:xfrm>
                <a:custGeom>
                  <a:avLst/>
                  <a:gdLst/>
                  <a:ahLst/>
                  <a:cxnLst>
                    <a:cxn ang="0">
                      <a:pos x="307" y="25"/>
                    </a:cxn>
                    <a:cxn ang="0">
                      <a:pos x="319" y="40"/>
                    </a:cxn>
                    <a:cxn ang="0">
                      <a:pos x="313" y="62"/>
                    </a:cxn>
                    <a:cxn ang="0">
                      <a:pos x="295" y="60"/>
                    </a:cxn>
                    <a:cxn ang="0">
                      <a:pos x="277" y="64"/>
                    </a:cxn>
                    <a:cxn ang="0">
                      <a:pos x="251" y="65"/>
                    </a:cxn>
                    <a:cxn ang="0">
                      <a:pos x="236" y="69"/>
                    </a:cxn>
                    <a:cxn ang="0">
                      <a:pos x="227" y="76"/>
                    </a:cxn>
                    <a:cxn ang="0">
                      <a:pos x="216" y="85"/>
                    </a:cxn>
                    <a:cxn ang="0">
                      <a:pos x="209" y="87"/>
                    </a:cxn>
                    <a:cxn ang="0">
                      <a:pos x="179" y="94"/>
                    </a:cxn>
                    <a:cxn ang="0">
                      <a:pos x="170" y="113"/>
                    </a:cxn>
                    <a:cxn ang="0">
                      <a:pos x="131" y="130"/>
                    </a:cxn>
                    <a:cxn ang="0">
                      <a:pos x="131" y="130"/>
                    </a:cxn>
                    <a:cxn ang="0">
                      <a:pos x="76" y="134"/>
                    </a:cxn>
                    <a:cxn ang="0">
                      <a:pos x="76" y="134"/>
                    </a:cxn>
                    <a:cxn ang="0">
                      <a:pos x="35" y="150"/>
                    </a:cxn>
                    <a:cxn ang="0">
                      <a:pos x="0" y="166"/>
                    </a:cxn>
                    <a:cxn ang="0">
                      <a:pos x="5" y="137"/>
                    </a:cxn>
                    <a:cxn ang="0">
                      <a:pos x="13" y="99"/>
                    </a:cxn>
                    <a:cxn ang="0">
                      <a:pos x="34" y="80"/>
                    </a:cxn>
                    <a:cxn ang="0">
                      <a:pos x="41" y="75"/>
                    </a:cxn>
                    <a:cxn ang="0">
                      <a:pos x="77" y="52"/>
                    </a:cxn>
                    <a:cxn ang="0">
                      <a:pos x="93" y="40"/>
                    </a:cxn>
                    <a:cxn ang="0">
                      <a:pos x="93" y="24"/>
                    </a:cxn>
                    <a:cxn ang="0">
                      <a:pos x="98" y="3"/>
                    </a:cxn>
                    <a:cxn ang="0">
                      <a:pos x="107" y="8"/>
                    </a:cxn>
                    <a:cxn ang="0">
                      <a:pos x="117" y="10"/>
                    </a:cxn>
                    <a:cxn ang="0">
                      <a:pos x="129" y="18"/>
                    </a:cxn>
                    <a:cxn ang="0">
                      <a:pos x="137" y="20"/>
                    </a:cxn>
                    <a:cxn ang="0">
                      <a:pos x="154" y="25"/>
                    </a:cxn>
                    <a:cxn ang="0">
                      <a:pos x="168" y="34"/>
                    </a:cxn>
                    <a:cxn ang="0">
                      <a:pos x="183" y="36"/>
                    </a:cxn>
                    <a:cxn ang="0">
                      <a:pos x="183" y="36"/>
                    </a:cxn>
                    <a:cxn ang="0">
                      <a:pos x="200" y="36"/>
                    </a:cxn>
                    <a:cxn ang="0">
                      <a:pos x="200" y="36"/>
                    </a:cxn>
                    <a:cxn ang="0">
                      <a:pos x="216" y="48"/>
                    </a:cxn>
                    <a:cxn ang="0">
                      <a:pos x="216" y="33"/>
                    </a:cxn>
                    <a:cxn ang="0">
                      <a:pos x="238" y="28"/>
                    </a:cxn>
                    <a:cxn ang="0">
                      <a:pos x="251" y="34"/>
                    </a:cxn>
                    <a:cxn ang="0">
                      <a:pos x="266" y="35"/>
                    </a:cxn>
                    <a:cxn ang="0">
                      <a:pos x="293" y="27"/>
                    </a:cxn>
                    <a:cxn ang="0">
                      <a:pos x="307" y="25"/>
                    </a:cxn>
                    <a:cxn ang="0">
                      <a:pos x="307" y="25"/>
                    </a:cxn>
                  </a:cxnLst>
                  <a:rect l="0" t="0" r="r" b="b"/>
                  <a:pathLst>
                    <a:path w="326" h="166">
                      <a:moveTo>
                        <a:pt x="307" y="25"/>
                      </a:moveTo>
                      <a:cubicBezTo>
                        <a:pt x="307" y="25"/>
                        <a:pt x="321" y="19"/>
                        <a:pt x="319" y="40"/>
                      </a:cubicBezTo>
                      <a:cubicBezTo>
                        <a:pt x="319" y="40"/>
                        <a:pt x="326" y="48"/>
                        <a:pt x="313" y="62"/>
                      </a:cubicBezTo>
                      <a:cubicBezTo>
                        <a:pt x="313" y="62"/>
                        <a:pt x="310" y="51"/>
                        <a:pt x="295" y="60"/>
                      </a:cubicBezTo>
                      <a:cubicBezTo>
                        <a:pt x="295" y="60"/>
                        <a:pt x="289" y="74"/>
                        <a:pt x="277" y="64"/>
                      </a:cubicBezTo>
                      <a:cubicBezTo>
                        <a:pt x="266" y="54"/>
                        <a:pt x="255" y="73"/>
                        <a:pt x="251" y="65"/>
                      </a:cubicBezTo>
                      <a:cubicBezTo>
                        <a:pt x="251" y="65"/>
                        <a:pt x="236" y="56"/>
                        <a:pt x="236" y="69"/>
                      </a:cubicBezTo>
                      <a:cubicBezTo>
                        <a:pt x="236" y="69"/>
                        <a:pt x="233" y="80"/>
                        <a:pt x="227" y="76"/>
                      </a:cubicBezTo>
                      <a:cubicBezTo>
                        <a:pt x="227" y="76"/>
                        <a:pt x="225" y="64"/>
                        <a:pt x="216" y="85"/>
                      </a:cubicBezTo>
                      <a:cubicBezTo>
                        <a:pt x="216" y="85"/>
                        <a:pt x="217" y="81"/>
                        <a:pt x="209" y="87"/>
                      </a:cubicBezTo>
                      <a:cubicBezTo>
                        <a:pt x="209" y="87"/>
                        <a:pt x="194" y="87"/>
                        <a:pt x="179" y="94"/>
                      </a:cubicBezTo>
                      <a:cubicBezTo>
                        <a:pt x="179" y="94"/>
                        <a:pt x="178" y="102"/>
                        <a:pt x="170" y="113"/>
                      </a:cubicBezTo>
                      <a:cubicBezTo>
                        <a:pt x="157" y="133"/>
                        <a:pt x="156" y="128"/>
                        <a:pt x="131" y="130"/>
                      </a:cubicBezTo>
                      <a:cubicBezTo>
                        <a:pt x="131" y="130"/>
                        <a:pt x="131" y="130"/>
                        <a:pt x="131" y="130"/>
                      </a:cubicBezTo>
                      <a:cubicBezTo>
                        <a:pt x="76" y="134"/>
                        <a:pt x="76" y="134"/>
                        <a:pt x="76" y="134"/>
                      </a:cubicBezTo>
                      <a:cubicBezTo>
                        <a:pt x="76" y="134"/>
                        <a:pt x="76" y="134"/>
                        <a:pt x="76" y="134"/>
                      </a:cubicBezTo>
                      <a:cubicBezTo>
                        <a:pt x="76" y="134"/>
                        <a:pt x="46" y="124"/>
                        <a:pt x="35" y="150"/>
                      </a:cubicBezTo>
                      <a:cubicBezTo>
                        <a:pt x="35" y="150"/>
                        <a:pt x="27" y="164"/>
                        <a:pt x="0" y="166"/>
                      </a:cubicBezTo>
                      <a:cubicBezTo>
                        <a:pt x="14" y="146"/>
                        <a:pt x="5" y="137"/>
                        <a:pt x="5" y="137"/>
                      </a:cubicBezTo>
                      <a:cubicBezTo>
                        <a:pt x="0" y="117"/>
                        <a:pt x="13" y="99"/>
                        <a:pt x="13" y="99"/>
                      </a:cubicBezTo>
                      <a:cubicBezTo>
                        <a:pt x="29" y="95"/>
                        <a:pt x="34" y="80"/>
                        <a:pt x="34" y="80"/>
                      </a:cubicBezTo>
                      <a:cubicBezTo>
                        <a:pt x="38" y="82"/>
                        <a:pt x="41" y="75"/>
                        <a:pt x="41" y="75"/>
                      </a:cubicBezTo>
                      <a:cubicBezTo>
                        <a:pt x="60" y="48"/>
                        <a:pt x="77" y="52"/>
                        <a:pt x="77" y="52"/>
                      </a:cubicBezTo>
                      <a:cubicBezTo>
                        <a:pt x="95" y="55"/>
                        <a:pt x="93" y="40"/>
                        <a:pt x="93" y="40"/>
                      </a:cubicBezTo>
                      <a:cubicBezTo>
                        <a:pt x="97" y="29"/>
                        <a:pt x="93" y="24"/>
                        <a:pt x="93" y="24"/>
                      </a:cubicBezTo>
                      <a:cubicBezTo>
                        <a:pt x="86" y="7"/>
                        <a:pt x="98" y="3"/>
                        <a:pt x="98" y="3"/>
                      </a:cubicBezTo>
                      <a:cubicBezTo>
                        <a:pt x="98" y="3"/>
                        <a:pt x="107" y="2"/>
                        <a:pt x="107" y="8"/>
                      </a:cubicBezTo>
                      <a:cubicBezTo>
                        <a:pt x="107" y="8"/>
                        <a:pt x="110" y="18"/>
                        <a:pt x="117" y="10"/>
                      </a:cubicBezTo>
                      <a:cubicBezTo>
                        <a:pt x="117" y="10"/>
                        <a:pt x="125" y="0"/>
                        <a:pt x="129" y="18"/>
                      </a:cubicBezTo>
                      <a:cubicBezTo>
                        <a:pt x="129" y="18"/>
                        <a:pt x="123" y="35"/>
                        <a:pt x="137" y="20"/>
                      </a:cubicBezTo>
                      <a:cubicBezTo>
                        <a:pt x="137" y="20"/>
                        <a:pt x="151" y="7"/>
                        <a:pt x="154" y="25"/>
                      </a:cubicBezTo>
                      <a:cubicBezTo>
                        <a:pt x="154" y="25"/>
                        <a:pt x="158" y="36"/>
                        <a:pt x="168" y="34"/>
                      </a:cubicBezTo>
                      <a:cubicBezTo>
                        <a:pt x="168" y="34"/>
                        <a:pt x="177" y="32"/>
                        <a:pt x="183" y="36"/>
                      </a:cubicBezTo>
                      <a:cubicBezTo>
                        <a:pt x="183" y="36"/>
                        <a:pt x="183" y="36"/>
                        <a:pt x="183" y="36"/>
                      </a:cubicBezTo>
                      <a:cubicBezTo>
                        <a:pt x="200" y="36"/>
                        <a:pt x="200" y="36"/>
                        <a:pt x="200" y="36"/>
                      </a:cubicBezTo>
                      <a:cubicBezTo>
                        <a:pt x="200" y="36"/>
                        <a:pt x="200" y="36"/>
                        <a:pt x="200" y="36"/>
                      </a:cubicBezTo>
                      <a:cubicBezTo>
                        <a:pt x="200" y="36"/>
                        <a:pt x="204" y="57"/>
                        <a:pt x="216" y="48"/>
                      </a:cubicBezTo>
                      <a:cubicBezTo>
                        <a:pt x="216" y="48"/>
                        <a:pt x="224" y="41"/>
                        <a:pt x="216" y="33"/>
                      </a:cubicBezTo>
                      <a:cubicBezTo>
                        <a:pt x="216" y="33"/>
                        <a:pt x="225" y="28"/>
                        <a:pt x="238" y="28"/>
                      </a:cubicBezTo>
                      <a:cubicBezTo>
                        <a:pt x="238" y="28"/>
                        <a:pt x="241" y="42"/>
                        <a:pt x="251" y="34"/>
                      </a:cubicBezTo>
                      <a:cubicBezTo>
                        <a:pt x="251" y="34"/>
                        <a:pt x="261" y="28"/>
                        <a:pt x="266" y="35"/>
                      </a:cubicBezTo>
                      <a:cubicBezTo>
                        <a:pt x="266" y="35"/>
                        <a:pt x="280" y="37"/>
                        <a:pt x="293" y="27"/>
                      </a:cubicBezTo>
                      <a:cubicBezTo>
                        <a:pt x="293" y="27"/>
                        <a:pt x="302" y="32"/>
                        <a:pt x="307" y="25"/>
                      </a:cubicBezTo>
                      <a:cubicBezTo>
                        <a:pt x="307" y="25"/>
                        <a:pt x="307" y="25"/>
                        <a:pt x="307" y="25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5" name="Freeform 112"/>
                <p:cNvSpPr>
                  <a:spLocks/>
                </p:cNvSpPr>
                <p:nvPr/>
              </p:nvSpPr>
              <p:spPr bwMode="auto">
                <a:xfrm>
                  <a:off x="2114977" y="3304684"/>
                  <a:ext cx="906484" cy="853202"/>
                </a:xfrm>
                <a:custGeom>
                  <a:avLst/>
                  <a:gdLst/>
                  <a:ahLst/>
                  <a:cxnLst>
                    <a:cxn ang="0">
                      <a:pos x="288" y="311"/>
                    </a:cxn>
                    <a:cxn ang="0">
                      <a:pos x="274" y="322"/>
                    </a:cxn>
                    <a:cxn ang="0">
                      <a:pos x="253" y="330"/>
                    </a:cxn>
                    <a:cxn ang="0">
                      <a:pos x="235" y="329"/>
                    </a:cxn>
                    <a:cxn ang="0">
                      <a:pos x="207" y="323"/>
                    </a:cxn>
                    <a:cxn ang="0">
                      <a:pos x="196" y="325"/>
                    </a:cxn>
                    <a:cxn ang="0">
                      <a:pos x="180" y="342"/>
                    </a:cxn>
                    <a:cxn ang="0">
                      <a:pos x="157" y="315"/>
                    </a:cxn>
                    <a:cxn ang="0">
                      <a:pos x="130" y="318"/>
                    </a:cxn>
                    <a:cxn ang="0">
                      <a:pos x="123" y="322"/>
                    </a:cxn>
                    <a:cxn ang="0">
                      <a:pos x="124" y="312"/>
                    </a:cxn>
                    <a:cxn ang="0">
                      <a:pos x="111" y="315"/>
                    </a:cxn>
                    <a:cxn ang="0">
                      <a:pos x="118" y="304"/>
                    </a:cxn>
                    <a:cxn ang="0">
                      <a:pos x="111" y="296"/>
                    </a:cxn>
                    <a:cxn ang="0">
                      <a:pos x="100" y="297"/>
                    </a:cxn>
                    <a:cxn ang="0">
                      <a:pos x="84" y="294"/>
                    </a:cxn>
                    <a:cxn ang="0">
                      <a:pos x="76" y="280"/>
                    </a:cxn>
                    <a:cxn ang="0">
                      <a:pos x="52" y="261"/>
                    </a:cxn>
                    <a:cxn ang="0">
                      <a:pos x="31" y="256"/>
                    </a:cxn>
                    <a:cxn ang="0">
                      <a:pos x="5" y="260"/>
                    </a:cxn>
                    <a:cxn ang="0">
                      <a:pos x="11" y="238"/>
                    </a:cxn>
                    <a:cxn ang="0">
                      <a:pos x="0" y="223"/>
                    </a:cxn>
                    <a:cxn ang="0">
                      <a:pos x="2" y="167"/>
                    </a:cxn>
                    <a:cxn ang="0">
                      <a:pos x="13" y="139"/>
                    </a:cxn>
                    <a:cxn ang="0">
                      <a:pos x="42" y="133"/>
                    </a:cxn>
                    <a:cxn ang="0">
                      <a:pos x="63" y="116"/>
                    </a:cxn>
                    <a:cxn ang="0">
                      <a:pos x="56" y="82"/>
                    </a:cxn>
                    <a:cxn ang="0">
                      <a:pos x="55" y="56"/>
                    </a:cxn>
                    <a:cxn ang="0">
                      <a:pos x="59" y="44"/>
                    </a:cxn>
                    <a:cxn ang="0">
                      <a:pos x="59" y="31"/>
                    </a:cxn>
                    <a:cxn ang="0">
                      <a:pos x="64" y="20"/>
                    </a:cxn>
                    <a:cxn ang="0">
                      <a:pos x="101" y="21"/>
                    </a:cxn>
                    <a:cxn ang="0">
                      <a:pos x="129" y="20"/>
                    </a:cxn>
                    <a:cxn ang="0">
                      <a:pos x="146" y="18"/>
                    </a:cxn>
                    <a:cxn ang="0">
                      <a:pos x="168" y="17"/>
                    </a:cxn>
                    <a:cxn ang="0">
                      <a:pos x="179" y="7"/>
                    </a:cxn>
                    <a:cxn ang="0">
                      <a:pos x="196" y="22"/>
                    </a:cxn>
                    <a:cxn ang="0">
                      <a:pos x="196" y="39"/>
                    </a:cxn>
                    <a:cxn ang="0">
                      <a:pos x="200" y="58"/>
                    </a:cxn>
                    <a:cxn ang="0">
                      <a:pos x="229" y="56"/>
                    </a:cxn>
                    <a:cxn ang="0">
                      <a:pos x="253" y="46"/>
                    </a:cxn>
                    <a:cxn ang="0">
                      <a:pos x="259" y="66"/>
                    </a:cxn>
                    <a:cxn ang="0">
                      <a:pos x="261" y="95"/>
                    </a:cxn>
                    <a:cxn ang="0">
                      <a:pos x="258" y="109"/>
                    </a:cxn>
                    <a:cxn ang="0">
                      <a:pos x="278" y="127"/>
                    </a:cxn>
                    <a:cxn ang="0">
                      <a:pos x="273" y="153"/>
                    </a:cxn>
                    <a:cxn ang="0">
                      <a:pos x="274" y="164"/>
                    </a:cxn>
                    <a:cxn ang="0">
                      <a:pos x="279" y="181"/>
                    </a:cxn>
                    <a:cxn ang="0">
                      <a:pos x="281" y="193"/>
                    </a:cxn>
                    <a:cxn ang="0">
                      <a:pos x="291" y="205"/>
                    </a:cxn>
                    <a:cxn ang="0">
                      <a:pos x="302" y="226"/>
                    </a:cxn>
                    <a:cxn ang="0">
                      <a:pos x="309" y="241"/>
                    </a:cxn>
                    <a:cxn ang="0">
                      <a:pos x="314" y="258"/>
                    </a:cxn>
                    <a:cxn ang="0">
                      <a:pos x="317" y="270"/>
                    </a:cxn>
                    <a:cxn ang="0">
                      <a:pos x="299" y="273"/>
                    </a:cxn>
                    <a:cxn ang="0">
                      <a:pos x="286" y="283"/>
                    </a:cxn>
                    <a:cxn ang="0">
                      <a:pos x="288" y="311"/>
                    </a:cxn>
                    <a:cxn ang="0">
                      <a:pos x="288" y="311"/>
                    </a:cxn>
                  </a:cxnLst>
                  <a:rect l="0" t="0" r="r" b="b"/>
                  <a:pathLst>
                    <a:path w="320" h="342">
                      <a:moveTo>
                        <a:pt x="288" y="311"/>
                      </a:moveTo>
                      <a:cubicBezTo>
                        <a:pt x="288" y="311"/>
                        <a:pt x="272" y="311"/>
                        <a:pt x="274" y="322"/>
                      </a:cubicBezTo>
                      <a:cubicBezTo>
                        <a:pt x="274" y="322"/>
                        <a:pt x="274" y="333"/>
                        <a:pt x="253" y="330"/>
                      </a:cubicBezTo>
                      <a:cubicBezTo>
                        <a:pt x="253" y="330"/>
                        <a:pt x="246" y="319"/>
                        <a:pt x="235" y="329"/>
                      </a:cubicBezTo>
                      <a:cubicBezTo>
                        <a:pt x="235" y="329"/>
                        <a:pt x="217" y="333"/>
                        <a:pt x="207" y="323"/>
                      </a:cubicBezTo>
                      <a:cubicBezTo>
                        <a:pt x="207" y="323"/>
                        <a:pt x="199" y="306"/>
                        <a:pt x="196" y="325"/>
                      </a:cubicBezTo>
                      <a:cubicBezTo>
                        <a:pt x="196" y="325"/>
                        <a:pt x="192" y="339"/>
                        <a:pt x="180" y="342"/>
                      </a:cubicBezTo>
                      <a:cubicBezTo>
                        <a:pt x="170" y="339"/>
                        <a:pt x="176" y="314"/>
                        <a:pt x="157" y="315"/>
                      </a:cubicBezTo>
                      <a:cubicBezTo>
                        <a:pt x="157" y="315"/>
                        <a:pt x="137" y="306"/>
                        <a:pt x="130" y="318"/>
                      </a:cubicBezTo>
                      <a:cubicBezTo>
                        <a:pt x="130" y="318"/>
                        <a:pt x="133" y="330"/>
                        <a:pt x="123" y="322"/>
                      </a:cubicBezTo>
                      <a:cubicBezTo>
                        <a:pt x="123" y="322"/>
                        <a:pt x="127" y="315"/>
                        <a:pt x="124" y="312"/>
                      </a:cubicBezTo>
                      <a:cubicBezTo>
                        <a:pt x="124" y="312"/>
                        <a:pt x="118" y="310"/>
                        <a:pt x="111" y="315"/>
                      </a:cubicBezTo>
                      <a:cubicBezTo>
                        <a:pt x="111" y="315"/>
                        <a:pt x="117" y="311"/>
                        <a:pt x="118" y="304"/>
                      </a:cubicBezTo>
                      <a:cubicBezTo>
                        <a:pt x="118" y="304"/>
                        <a:pt x="121" y="292"/>
                        <a:pt x="111" y="296"/>
                      </a:cubicBezTo>
                      <a:cubicBezTo>
                        <a:pt x="111" y="296"/>
                        <a:pt x="103" y="293"/>
                        <a:pt x="100" y="297"/>
                      </a:cubicBezTo>
                      <a:cubicBezTo>
                        <a:pt x="100" y="297"/>
                        <a:pt x="94" y="286"/>
                        <a:pt x="84" y="294"/>
                      </a:cubicBezTo>
                      <a:cubicBezTo>
                        <a:pt x="84" y="294"/>
                        <a:pt x="86" y="278"/>
                        <a:pt x="76" y="280"/>
                      </a:cubicBezTo>
                      <a:cubicBezTo>
                        <a:pt x="60" y="280"/>
                        <a:pt x="59" y="262"/>
                        <a:pt x="52" y="261"/>
                      </a:cubicBezTo>
                      <a:cubicBezTo>
                        <a:pt x="52" y="261"/>
                        <a:pt x="48" y="250"/>
                        <a:pt x="31" y="256"/>
                      </a:cubicBezTo>
                      <a:cubicBezTo>
                        <a:pt x="24" y="249"/>
                        <a:pt x="30" y="263"/>
                        <a:pt x="5" y="260"/>
                      </a:cubicBezTo>
                      <a:cubicBezTo>
                        <a:pt x="18" y="246"/>
                        <a:pt x="11" y="238"/>
                        <a:pt x="11" y="238"/>
                      </a:cubicBezTo>
                      <a:cubicBezTo>
                        <a:pt x="13" y="217"/>
                        <a:pt x="0" y="223"/>
                        <a:pt x="0" y="223"/>
                      </a:cubicBezTo>
                      <a:cubicBezTo>
                        <a:pt x="0" y="223"/>
                        <a:pt x="9" y="208"/>
                        <a:pt x="2" y="167"/>
                      </a:cubicBezTo>
                      <a:cubicBezTo>
                        <a:pt x="1" y="150"/>
                        <a:pt x="16" y="144"/>
                        <a:pt x="13" y="139"/>
                      </a:cubicBezTo>
                      <a:cubicBezTo>
                        <a:pt x="13" y="132"/>
                        <a:pt x="36" y="124"/>
                        <a:pt x="42" y="133"/>
                      </a:cubicBezTo>
                      <a:cubicBezTo>
                        <a:pt x="42" y="133"/>
                        <a:pt x="70" y="147"/>
                        <a:pt x="63" y="116"/>
                      </a:cubicBezTo>
                      <a:cubicBezTo>
                        <a:pt x="63" y="116"/>
                        <a:pt x="65" y="95"/>
                        <a:pt x="56" y="82"/>
                      </a:cubicBezTo>
                      <a:cubicBezTo>
                        <a:pt x="56" y="82"/>
                        <a:pt x="42" y="69"/>
                        <a:pt x="55" y="56"/>
                      </a:cubicBezTo>
                      <a:cubicBezTo>
                        <a:pt x="55" y="56"/>
                        <a:pt x="61" y="51"/>
                        <a:pt x="59" y="44"/>
                      </a:cubicBezTo>
                      <a:cubicBezTo>
                        <a:pt x="59" y="44"/>
                        <a:pt x="48" y="34"/>
                        <a:pt x="59" y="31"/>
                      </a:cubicBezTo>
                      <a:cubicBezTo>
                        <a:pt x="59" y="31"/>
                        <a:pt x="71" y="27"/>
                        <a:pt x="64" y="20"/>
                      </a:cubicBezTo>
                      <a:cubicBezTo>
                        <a:pt x="82" y="15"/>
                        <a:pt x="90" y="27"/>
                        <a:pt x="101" y="21"/>
                      </a:cubicBezTo>
                      <a:cubicBezTo>
                        <a:pt x="122" y="14"/>
                        <a:pt x="126" y="27"/>
                        <a:pt x="129" y="20"/>
                      </a:cubicBezTo>
                      <a:cubicBezTo>
                        <a:pt x="134" y="11"/>
                        <a:pt x="146" y="18"/>
                        <a:pt x="146" y="18"/>
                      </a:cubicBezTo>
                      <a:cubicBezTo>
                        <a:pt x="146" y="18"/>
                        <a:pt x="157" y="22"/>
                        <a:pt x="168" y="17"/>
                      </a:cubicBezTo>
                      <a:cubicBezTo>
                        <a:pt x="167" y="6"/>
                        <a:pt x="172" y="7"/>
                        <a:pt x="179" y="7"/>
                      </a:cubicBezTo>
                      <a:cubicBezTo>
                        <a:pt x="199" y="0"/>
                        <a:pt x="188" y="21"/>
                        <a:pt x="196" y="22"/>
                      </a:cubicBezTo>
                      <a:cubicBezTo>
                        <a:pt x="196" y="22"/>
                        <a:pt x="202" y="34"/>
                        <a:pt x="196" y="39"/>
                      </a:cubicBezTo>
                      <a:cubicBezTo>
                        <a:pt x="196" y="39"/>
                        <a:pt x="189" y="51"/>
                        <a:pt x="200" y="58"/>
                      </a:cubicBezTo>
                      <a:cubicBezTo>
                        <a:pt x="200" y="58"/>
                        <a:pt x="225" y="62"/>
                        <a:pt x="229" y="56"/>
                      </a:cubicBezTo>
                      <a:cubicBezTo>
                        <a:pt x="234" y="46"/>
                        <a:pt x="244" y="54"/>
                        <a:pt x="253" y="46"/>
                      </a:cubicBezTo>
                      <a:cubicBezTo>
                        <a:pt x="263" y="46"/>
                        <a:pt x="254" y="62"/>
                        <a:pt x="259" y="66"/>
                      </a:cubicBezTo>
                      <a:cubicBezTo>
                        <a:pt x="259" y="66"/>
                        <a:pt x="268" y="80"/>
                        <a:pt x="261" y="95"/>
                      </a:cubicBezTo>
                      <a:cubicBezTo>
                        <a:pt x="261" y="95"/>
                        <a:pt x="252" y="98"/>
                        <a:pt x="258" y="109"/>
                      </a:cubicBezTo>
                      <a:cubicBezTo>
                        <a:pt x="258" y="109"/>
                        <a:pt x="269" y="109"/>
                        <a:pt x="278" y="127"/>
                      </a:cubicBezTo>
                      <a:cubicBezTo>
                        <a:pt x="278" y="127"/>
                        <a:pt x="284" y="139"/>
                        <a:pt x="273" y="153"/>
                      </a:cubicBezTo>
                      <a:cubicBezTo>
                        <a:pt x="269" y="151"/>
                        <a:pt x="258" y="164"/>
                        <a:pt x="274" y="164"/>
                      </a:cubicBezTo>
                      <a:cubicBezTo>
                        <a:pt x="274" y="164"/>
                        <a:pt x="268" y="179"/>
                        <a:pt x="279" y="181"/>
                      </a:cubicBezTo>
                      <a:cubicBezTo>
                        <a:pt x="279" y="181"/>
                        <a:pt x="275" y="192"/>
                        <a:pt x="281" y="193"/>
                      </a:cubicBezTo>
                      <a:cubicBezTo>
                        <a:pt x="289" y="190"/>
                        <a:pt x="279" y="203"/>
                        <a:pt x="291" y="205"/>
                      </a:cubicBezTo>
                      <a:cubicBezTo>
                        <a:pt x="303" y="214"/>
                        <a:pt x="293" y="223"/>
                        <a:pt x="302" y="226"/>
                      </a:cubicBezTo>
                      <a:cubicBezTo>
                        <a:pt x="316" y="225"/>
                        <a:pt x="304" y="240"/>
                        <a:pt x="309" y="241"/>
                      </a:cubicBezTo>
                      <a:cubicBezTo>
                        <a:pt x="309" y="241"/>
                        <a:pt x="320" y="243"/>
                        <a:pt x="314" y="258"/>
                      </a:cubicBezTo>
                      <a:cubicBezTo>
                        <a:pt x="314" y="258"/>
                        <a:pt x="301" y="265"/>
                        <a:pt x="317" y="270"/>
                      </a:cubicBezTo>
                      <a:cubicBezTo>
                        <a:pt x="317" y="270"/>
                        <a:pt x="307" y="286"/>
                        <a:pt x="299" y="273"/>
                      </a:cubicBezTo>
                      <a:cubicBezTo>
                        <a:pt x="299" y="273"/>
                        <a:pt x="292" y="267"/>
                        <a:pt x="286" y="283"/>
                      </a:cubicBezTo>
                      <a:cubicBezTo>
                        <a:pt x="286" y="283"/>
                        <a:pt x="276" y="298"/>
                        <a:pt x="288" y="311"/>
                      </a:cubicBezTo>
                      <a:cubicBezTo>
                        <a:pt x="288" y="311"/>
                        <a:pt x="288" y="311"/>
                        <a:pt x="288" y="311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6" name="Freeform 50"/>
                <p:cNvSpPr>
                  <a:spLocks/>
                </p:cNvSpPr>
                <p:nvPr/>
              </p:nvSpPr>
              <p:spPr bwMode="auto">
                <a:xfrm>
                  <a:off x="2089117" y="2490387"/>
                  <a:ext cx="843874" cy="968572"/>
                </a:xfrm>
                <a:custGeom>
                  <a:avLst/>
                  <a:gdLst/>
                  <a:ahLst/>
                  <a:cxnLst>
                    <a:cxn ang="0">
                      <a:pos x="85" y="18"/>
                    </a:cxn>
                    <a:cxn ang="0">
                      <a:pos x="125" y="13"/>
                    </a:cxn>
                    <a:cxn ang="0">
                      <a:pos x="143" y="19"/>
                    </a:cxn>
                    <a:cxn ang="0">
                      <a:pos x="169" y="21"/>
                    </a:cxn>
                    <a:cxn ang="0">
                      <a:pos x="191" y="50"/>
                    </a:cxn>
                    <a:cxn ang="0">
                      <a:pos x="236" y="14"/>
                    </a:cxn>
                    <a:cxn ang="0">
                      <a:pos x="257" y="59"/>
                    </a:cxn>
                    <a:cxn ang="0">
                      <a:pos x="246" y="86"/>
                    </a:cxn>
                    <a:cxn ang="0">
                      <a:pos x="247" y="106"/>
                    </a:cxn>
                    <a:cxn ang="0">
                      <a:pos x="260" y="139"/>
                    </a:cxn>
                    <a:cxn ang="0">
                      <a:pos x="272" y="193"/>
                    </a:cxn>
                    <a:cxn ang="0">
                      <a:pos x="271" y="237"/>
                    </a:cxn>
                    <a:cxn ang="0">
                      <a:pos x="290" y="278"/>
                    </a:cxn>
                    <a:cxn ang="0">
                      <a:pos x="293" y="318"/>
                    </a:cxn>
                    <a:cxn ang="0">
                      <a:pos x="260" y="346"/>
                    </a:cxn>
                    <a:cxn ang="0">
                      <a:pos x="263" y="372"/>
                    </a:cxn>
                    <a:cxn ang="0">
                      <a:pos x="209" y="385"/>
                    </a:cxn>
                    <a:cxn ang="0">
                      <a:pos x="205" y="348"/>
                    </a:cxn>
                    <a:cxn ang="0">
                      <a:pos x="177" y="343"/>
                    </a:cxn>
                    <a:cxn ang="0">
                      <a:pos x="138" y="346"/>
                    </a:cxn>
                    <a:cxn ang="0">
                      <a:pos x="73" y="346"/>
                    </a:cxn>
                    <a:cxn ang="0">
                      <a:pos x="40" y="319"/>
                    </a:cxn>
                    <a:cxn ang="0">
                      <a:pos x="51" y="282"/>
                    </a:cxn>
                    <a:cxn ang="0">
                      <a:pos x="30" y="254"/>
                    </a:cxn>
                    <a:cxn ang="0">
                      <a:pos x="11" y="223"/>
                    </a:cxn>
                    <a:cxn ang="0">
                      <a:pos x="8" y="194"/>
                    </a:cxn>
                    <a:cxn ang="0">
                      <a:pos x="11" y="161"/>
                    </a:cxn>
                    <a:cxn ang="0">
                      <a:pos x="14" y="115"/>
                    </a:cxn>
                    <a:cxn ang="0">
                      <a:pos x="27" y="102"/>
                    </a:cxn>
                    <a:cxn ang="0">
                      <a:pos x="35" y="85"/>
                    </a:cxn>
                    <a:cxn ang="0">
                      <a:pos x="45" y="56"/>
                    </a:cxn>
                    <a:cxn ang="0">
                      <a:pos x="57" y="53"/>
                    </a:cxn>
                    <a:cxn ang="0">
                      <a:pos x="72" y="32"/>
                    </a:cxn>
                  </a:cxnLst>
                  <a:rect l="0" t="0" r="r" b="b"/>
                  <a:pathLst>
                    <a:path w="298" h="388">
                      <a:moveTo>
                        <a:pt x="72" y="32"/>
                      </a:moveTo>
                      <a:cubicBezTo>
                        <a:pt x="72" y="32"/>
                        <a:pt x="85" y="40"/>
                        <a:pt x="85" y="18"/>
                      </a:cubicBezTo>
                      <a:cubicBezTo>
                        <a:pt x="85" y="18"/>
                        <a:pt x="88" y="0"/>
                        <a:pt x="99" y="14"/>
                      </a:cubicBezTo>
                      <a:cubicBezTo>
                        <a:pt x="99" y="14"/>
                        <a:pt x="110" y="27"/>
                        <a:pt x="125" y="13"/>
                      </a:cubicBezTo>
                      <a:cubicBezTo>
                        <a:pt x="125" y="13"/>
                        <a:pt x="124" y="7"/>
                        <a:pt x="137" y="1"/>
                      </a:cubicBezTo>
                      <a:cubicBezTo>
                        <a:pt x="142" y="5"/>
                        <a:pt x="135" y="16"/>
                        <a:pt x="143" y="19"/>
                      </a:cubicBezTo>
                      <a:cubicBezTo>
                        <a:pt x="143" y="19"/>
                        <a:pt x="143" y="29"/>
                        <a:pt x="153" y="23"/>
                      </a:cubicBezTo>
                      <a:cubicBezTo>
                        <a:pt x="153" y="23"/>
                        <a:pt x="157" y="14"/>
                        <a:pt x="169" y="21"/>
                      </a:cubicBezTo>
                      <a:cubicBezTo>
                        <a:pt x="169" y="21"/>
                        <a:pt x="178" y="20"/>
                        <a:pt x="177" y="31"/>
                      </a:cubicBezTo>
                      <a:cubicBezTo>
                        <a:pt x="177" y="31"/>
                        <a:pt x="173" y="43"/>
                        <a:pt x="191" y="50"/>
                      </a:cubicBezTo>
                      <a:cubicBezTo>
                        <a:pt x="191" y="50"/>
                        <a:pt x="191" y="21"/>
                        <a:pt x="216" y="21"/>
                      </a:cubicBezTo>
                      <a:cubicBezTo>
                        <a:pt x="216" y="21"/>
                        <a:pt x="229" y="4"/>
                        <a:pt x="236" y="14"/>
                      </a:cubicBezTo>
                      <a:cubicBezTo>
                        <a:pt x="236" y="14"/>
                        <a:pt x="246" y="24"/>
                        <a:pt x="246" y="36"/>
                      </a:cubicBezTo>
                      <a:cubicBezTo>
                        <a:pt x="246" y="36"/>
                        <a:pt x="247" y="56"/>
                        <a:pt x="257" y="59"/>
                      </a:cubicBezTo>
                      <a:cubicBezTo>
                        <a:pt x="257" y="59"/>
                        <a:pt x="270" y="80"/>
                        <a:pt x="246" y="86"/>
                      </a:cubicBezTo>
                      <a:cubicBezTo>
                        <a:pt x="246" y="86"/>
                        <a:pt x="246" y="86"/>
                        <a:pt x="246" y="86"/>
                      </a:cubicBezTo>
                      <a:cubicBezTo>
                        <a:pt x="247" y="106"/>
                        <a:pt x="247" y="106"/>
                        <a:pt x="247" y="106"/>
                      </a:cubicBezTo>
                      <a:cubicBezTo>
                        <a:pt x="247" y="106"/>
                        <a:pt x="247" y="106"/>
                        <a:pt x="247" y="106"/>
                      </a:cubicBezTo>
                      <a:cubicBezTo>
                        <a:pt x="247" y="106"/>
                        <a:pt x="260" y="100"/>
                        <a:pt x="268" y="119"/>
                      </a:cubicBezTo>
                      <a:cubicBezTo>
                        <a:pt x="267" y="134"/>
                        <a:pt x="257" y="135"/>
                        <a:pt x="260" y="139"/>
                      </a:cubicBezTo>
                      <a:cubicBezTo>
                        <a:pt x="260" y="139"/>
                        <a:pt x="273" y="147"/>
                        <a:pt x="271" y="170"/>
                      </a:cubicBezTo>
                      <a:cubicBezTo>
                        <a:pt x="271" y="170"/>
                        <a:pt x="284" y="175"/>
                        <a:pt x="272" y="193"/>
                      </a:cubicBezTo>
                      <a:cubicBezTo>
                        <a:pt x="272" y="193"/>
                        <a:pt x="265" y="197"/>
                        <a:pt x="268" y="218"/>
                      </a:cubicBezTo>
                      <a:cubicBezTo>
                        <a:pt x="267" y="230"/>
                        <a:pt x="256" y="231"/>
                        <a:pt x="271" y="237"/>
                      </a:cubicBezTo>
                      <a:cubicBezTo>
                        <a:pt x="271" y="237"/>
                        <a:pt x="280" y="237"/>
                        <a:pt x="280" y="254"/>
                      </a:cubicBezTo>
                      <a:cubicBezTo>
                        <a:pt x="280" y="254"/>
                        <a:pt x="292" y="257"/>
                        <a:pt x="290" y="278"/>
                      </a:cubicBezTo>
                      <a:cubicBezTo>
                        <a:pt x="290" y="278"/>
                        <a:pt x="298" y="287"/>
                        <a:pt x="288" y="294"/>
                      </a:cubicBezTo>
                      <a:cubicBezTo>
                        <a:pt x="288" y="294"/>
                        <a:pt x="283" y="311"/>
                        <a:pt x="293" y="318"/>
                      </a:cubicBezTo>
                      <a:cubicBezTo>
                        <a:pt x="293" y="318"/>
                        <a:pt x="298" y="324"/>
                        <a:pt x="278" y="337"/>
                      </a:cubicBezTo>
                      <a:cubicBezTo>
                        <a:pt x="278" y="337"/>
                        <a:pt x="271" y="345"/>
                        <a:pt x="260" y="346"/>
                      </a:cubicBezTo>
                      <a:cubicBezTo>
                        <a:pt x="260" y="346"/>
                        <a:pt x="257" y="352"/>
                        <a:pt x="260" y="360"/>
                      </a:cubicBezTo>
                      <a:cubicBezTo>
                        <a:pt x="260" y="360"/>
                        <a:pt x="266" y="365"/>
                        <a:pt x="263" y="372"/>
                      </a:cubicBezTo>
                      <a:cubicBezTo>
                        <a:pt x="255" y="380"/>
                        <a:pt x="243" y="372"/>
                        <a:pt x="238" y="382"/>
                      </a:cubicBezTo>
                      <a:cubicBezTo>
                        <a:pt x="234" y="388"/>
                        <a:pt x="209" y="385"/>
                        <a:pt x="209" y="385"/>
                      </a:cubicBezTo>
                      <a:cubicBezTo>
                        <a:pt x="198" y="377"/>
                        <a:pt x="205" y="365"/>
                        <a:pt x="205" y="365"/>
                      </a:cubicBezTo>
                      <a:cubicBezTo>
                        <a:pt x="211" y="360"/>
                        <a:pt x="205" y="348"/>
                        <a:pt x="205" y="348"/>
                      </a:cubicBezTo>
                      <a:cubicBezTo>
                        <a:pt x="197" y="347"/>
                        <a:pt x="208" y="326"/>
                        <a:pt x="188" y="333"/>
                      </a:cubicBezTo>
                      <a:cubicBezTo>
                        <a:pt x="181" y="333"/>
                        <a:pt x="176" y="332"/>
                        <a:pt x="177" y="343"/>
                      </a:cubicBezTo>
                      <a:cubicBezTo>
                        <a:pt x="166" y="348"/>
                        <a:pt x="155" y="344"/>
                        <a:pt x="155" y="344"/>
                      </a:cubicBezTo>
                      <a:cubicBezTo>
                        <a:pt x="155" y="344"/>
                        <a:pt x="143" y="337"/>
                        <a:pt x="138" y="346"/>
                      </a:cubicBezTo>
                      <a:cubicBezTo>
                        <a:pt x="135" y="353"/>
                        <a:pt x="131" y="340"/>
                        <a:pt x="110" y="347"/>
                      </a:cubicBezTo>
                      <a:cubicBezTo>
                        <a:pt x="99" y="353"/>
                        <a:pt x="91" y="341"/>
                        <a:pt x="73" y="346"/>
                      </a:cubicBezTo>
                      <a:cubicBezTo>
                        <a:pt x="68" y="340"/>
                        <a:pt x="52" y="340"/>
                        <a:pt x="52" y="340"/>
                      </a:cubicBezTo>
                      <a:cubicBezTo>
                        <a:pt x="40" y="329"/>
                        <a:pt x="40" y="319"/>
                        <a:pt x="40" y="319"/>
                      </a:cubicBezTo>
                      <a:cubicBezTo>
                        <a:pt x="37" y="301"/>
                        <a:pt x="47" y="302"/>
                        <a:pt x="47" y="302"/>
                      </a:cubicBezTo>
                      <a:cubicBezTo>
                        <a:pt x="59" y="296"/>
                        <a:pt x="44" y="293"/>
                        <a:pt x="51" y="282"/>
                      </a:cubicBezTo>
                      <a:cubicBezTo>
                        <a:pt x="51" y="263"/>
                        <a:pt x="47" y="259"/>
                        <a:pt x="47" y="259"/>
                      </a:cubicBezTo>
                      <a:cubicBezTo>
                        <a:pt x="40" y="269"/>
                        <a:pt x="30" y="254"/>
                        <a:pt x="30" y="254"/>
                      </a:cubicBezTo>
                      <a:cubicBezTo>
                        <a:pt x="25" y="254"/>
                        <a:pt x="25" y="246"/>
                        <a:pt x="15" y="236"/>
                      </a:cubicBezTo>
                      <a:cubicBezTo>
                        <a:pt x="3" y="229"/>
                        <a:pt x="11" y="223"/>
                        <a:pt x="11" y="223"/>
                      </a:cubicBezTo>
                      <a:cubicBezTo>
                        <a:pt x="18" y="210"/>
                        <a:pt x="7" y="212"/>
                        <a:pt x="7" y="202"/>
                      </a:cubicBezTo>
                      <a:cubicBezTo>
                        <a:pt x="14" y="202"/>
                        <a:pt x="8" y="194"/>
                        <a:pt x="8" y="194"/>
                      </a:cubicBezTo>
                      <a:cubicBezTo>
                        <a:pt x="0" y="183"/>
                        <a:pt x="11" y="179"/>
                        <a:pt x="11" y="179"/>
                      </a:cubicBezTo>
                      <a:cubicBezTo>
                        <a:pt x="17" y="167"/>
                        <a:pt x="11" y="161"/>
                        <a:pt x="11" y="161"/>
                      </a:cubicBezTo>
                      <a:cubicBezTo>
                        <a:pt x="7" y="153"/>
                        <a:pt x="15" y="152"/>
                        <a:pt x="11" y="141"/>
                      </a:cubicBezTo>
                      <a:cubicBezTo>
                        <a:pt x="13" y="127"/>
                        <a:pt x="4" y="117"/>
                        <a:pt x="14" y="115"/>
                      </a:cubicBezTo>
                      <a:cubicBezTo>
                        <a:pt x="23" y="113"/>
                        <a:pt x="27" y="102"/>
                        <a:pt x="27" y="102"/>
                      </a:cubicBezTo>
                      <a:cubicBezTo>
                        <a:pt x="27" y="102"/>
                        <a:pt x="27" y="102"/>
                        <a:pt x="27" y="102"/>
                      </a:cubicBezTo>
                      <a:cubicBezTo>
                        <a:pt x="35" y="85"/>
                        <a:pt x="35" y="85"/>
                        <a:pt x="35" y="85"/>
                      </a:cubicBezTo>
                      <a:cubicBezTo>
                        <a:pt x="35" y="85"/>
                        <a:pt x="35" y="85"/>
                        <a:pt x="35" y="85"/>
                      </a:cubicBezTo>
                      <a:cubicBezTo>
                        <a:pt x="44" y="85"/>
                        <a:pt x="41" y="66"/>
                        <a:pt x="41" y="66"/>
                      </a:cubicBezTo>
                      <a:cubicBezTo>
                        <a:pt x="53" y="59"/>
                        <a:pt x="45" y="56"/>
                        <a:pt x="45" y="56"/>
                      </a:cubicBezTo>
                      <a:cubicBezTo>
                        <a:pt x="40" y="45"/>
                        <a:pt x="47" y="41"/>
                        <a:pt x="47" y="41"/>
                      </a:cubicBezTo>
                      <a:cubicBezTo>
                        <a:pt x="48" y="48"/>
                        <a:pt x="47" y="50"/>
                        <a:pt x="57" y="53"/>
                      </a:cubicBezTo>
                      <a:cubicBezTo>
                        <a:pt x="54" y="42"/>
                        <a:pt x="61" y="35"/>
                        <a:pt x="61" y="35"/>
                      </a:cubicBezTo>
                      <a:cubicBezTo>
                        <a:pt x="66" y="27"/>
                        <a:pt x="72" y="32"/>
                        <a:pt x="72" y="32"/>
                      </a:cubicBezTo>
                      <a:cubicBezTo>
                        <a:pt x="72" y="32"/>
                        <a:pt x="72" y="32"/>
                        <a:pt x="72" y="32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7" name="Freeform 49"/>
                <p:cNvSpPr>
                  <a:spLocks/>
                </p:cNvSpPr>
                <p:nvPr/>
              </p:nvSpPr>
              <p:spPr bwMode="auto">
                <a:xfrm>
                  <a:off x="2785993" y="2556120"/>
                  <a:ext cx="924177" cy="1085284"/>
                </a:xfrm>
                <a:custGeom>
                  <a:avLst/>
                  <a:gdLst/>
                  <a:ahLst/>
                  <a:cxnLst>
                    <a:cxn ang="0">
                      <a:pos x="14" y="333"/>
                    </a:cxn>
                    <a:cxn ang="0">
                      <a:pos x="32" y="310"/>
                    </a:cxn>
                    <a:cxn ang="0">
                      <a:pos x="42" y="267"/>
                    </a:cxn>
                    <a:cxn ang="0">
                      <a:pos x="34" y="227"/>
                    </a:cxn>
                    <a:cxn ang="0">
                      <a:pos x="22" y="191"/>
                    </a:cxn>
                    <a:cxn ang="0">
                      <a:pos x="25" y="143"/>
                    </a:cxn>
                    <a:cxn ang="0">
                      <a:pos x="22" y="92"/>
                    </a:cxn>
                    <a:cxn ang="0">
                      <a:pos x="1" y="79"/>
                    </a:cxn>
                    <a:cxn ang="0">
                      <a:pos x="0" y="59"/>
                    </a:cxn>
                    <a:cxn ang="0">
                      <a:pos x="39" y="18"/>
                    </a:cxn>
                    <a:cxn ang="0">
                      <a:pos x="72" y="18"/>
                    </a:cxn>
                    <a:cxn ang="0">
                      <a:pos x="115" y="21"/>
                    </a:cxn>
                    <a:cxn ang="0">
                      <a:pos x="146" y="53"/>
                    </a:cxn>
                    <a:cxn ang="0">
                      <a:pos x="145" y="83"/>
                    </a:cxn>
                    <a:cxn ang="0">
                      <a:pos x="144" y="104"/>
                    </a:cxn>
                    <a:cxn ang="0">
                      <a:pos x="164" y="127"/>
                    </a:cxn>
                    <a:cxn ang="0">
                      <a:pos x="190" y="148"/>
                    </a:cxn>
                    <a:cxn ang="0">
                      <a:pos x="217" y="171"/>
                    </a:cxn>
                    <a:cxn ang="0">
                      <a:pos x="270" y="189"/>
                    </a:cxn>
                    <a:cxn ang="0">
                      <a:pos x="300" y="180"/>
                    </a:cxn>
                    <a:cxn ang="0">
                      <a:pos x="314" y="210"/>
                    </a:cxn>
                    <a:cxn ang="0">
                      <a:pos x="322" y="240"/>
                    </a:cxn>
                    <a:cxn ang="0">
                      <a:pos x="294" y="269"/>
                    </a:cxn>
                    <a:cxn ang="0">
                      <a:pos x="272" y="311"/>
                    </a:cxn>
                    <a:cxn ang="0">
                      <a:pos x="230" y="309"/>
                    </a:cxn>
                    <a:cxn ang="0">
                      <a:pos x="209" y="357"/>
                    </a:cxn>
                    <a:cxn ang="0">
                      <a:pos x="190" y="392"/>
                    </a:cxn>
                    <a:cxn ang="0">
                      <a:pos x="135" y="406"/>
                    </a:cxn>
                    <a:cxn ang="0">
                      <a:pos x="120" y="422"/>
                    </a:cxn>
                    <a:cxn ang="0">
                      <a:pos x="89" y="416"/>
                    </a:cxn>
                    <a:cxn ang="0">
                      <a:pos x="52" y="432"/>
                    </a:cxn>
                    <a:cxn ang="0">
                      <a:pos x="21" y="408"/>
                    </a:cxn>
                    <a:cxn ang="0">
                      <a:pos x="22" y="365"/>
                    </a:cxn>
                    <a:cxn ang="0">
                      <a:pos x="17" y="346"/>
                    </a:cxn>
                  </a:cxnLst>
                  <a:rect l="0" t="0" r="r" b="b"/>
                  <a:pathLst>
                    <a:path w="327" h="434">
                      <a:moveTo>
                        <a:pt x="17" y="346"/>
                      </a:moveTo>
                      <a:cubicBezTo>
                        <a:pt x="20" y="339"/>
                        <a:pt x="14" y="333"/>
                        <a:pt x="14" y="333"/>
                      </a:cubicBezTo>
                      <a:cubicBezTo>
                        <a:pt x="11" y="325"/>
                        <a:pt x="14" y="319"/>
                        <a:pt x="14" y="319"/>
                      </a:cubicBezTo>
                      <a:cubicBezTo>
                        <a:pt x="25" y="318"/>
                        <a:pt x="32" y="310"/>
                        <a:pt x="32" y="310"/>
                      </a:cubicBezTo>
                      <a:cubicBezTo>
                        <a:pt x="52" y="297"/>
                        <a:pt x="47" y="291"/>
                        <a:pt x="47" y="291"/>
                      </a:cubicBezTo>
                      <a:cubicBezTo>
                        <a:pt x="37" y="284"/>
                        <a:pt x="42" y="267"/>
                        <a:pt x="42" y="267"/>
                      </a:cubicBezTo>
                      <a:cubicBezTo>
                        <a:pt x="52" y="260"/>
                        <a:pt x="44" y="251"/>
                        <a:pt x="44" y="251"/>
                      </a:cubicBezTo>
                      <a:cubicBezTo>
                        <a:pt x="46" y="230"/>
                        <a:pt x="34" y="227"/>
                        <a:pt x="34" y="227"/>
                      </a:cubicBezTo>
                      <a:cubicBezTo>
                        <a:pt x="34" y="210"/>
                        <a:pt x="25" y="210"/>
                        <a:pt x="25" y="210"/>
                      </a:cubicBezTo>
                      <a:cubicBezTo>
                        <a:pt x="10" y="204"/>
                        <a:pt x="21" y="203"/>
                        <a:pt x="22" y="191"/>
                      </a:cubicBezTo>
                      <a:cubicBezTo>
                        <a:pt x="19" y="170"/>
                        <a:pt x="26" y="166"/>
                        <a:pt x="26" y="166"/>
                      </a:cubicBezTo>
                      <a:cubicBezTo>
                        <a:pt x="38" y="148"/>
                        <a:pt x="25" y="143"/>
                        <a:pt x="25" y="143"/>
                      </a:cubicBezTo>
                      <a:cubicBezTo>
                        <a:pt x="27" y="120"/>
                        <a:pt x="14" y="112"/>
                        <a:pt x="14" y="112"/>
                      </a:cubicBezTo>
                      <a:cubicBezTo>
                        <a:pt x="11" y="108"/>
                        <a:pt x="21" y="107"/>
                        <a:pt x="22" y="92"/>
                      </a:cubicBezTo>
                      <a:cubicBezTo>
                        <a:pt x="14" y="73"/>
                        <a:pt x="1" y="79"/>
                        <a:pt x="1" y="79"/>
                      </a:cubicBezTo>
                      <a:cubicBezTo>
                        <a:pt x="1" y="79"/>
                        <a:pt x="1" y="79"/>
                        <a:pt x="1" y="79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24" y="53"/>
                        <a:pt x="11" y="32"/>
                        <a:pt x="11" y="32"/>
                      </a:cubicBezTo>
                      <a:cubicBezTo>
                        <a:pt x="26" y="28"/>
                        <a:pt x="31" y="17"/>
                        <a:pt x="39" y="18"/>
                      </a:cubicBezTo>
                      <a:cubicBezTo>
                        <a:pt x="39" y="18"/>
                        <a:pt x="45" y="0"/>
                        <a:pt x="56" y="16"/>
                      </a:cubicBezTo>
                      <a:cubicBezTo>
                        <a:pt x="56" y="16"/>
                        <a:pt x="60" y="27"/>
                        <a:pt x="72" y="18"/>
                      </a:cubicBezTo>
                      <a:cubicBezTo>
                        <a:pt x="72" y="18"/>
                        <a:pt x="80" y="11"/>
                        <a:pt x="93" y="13"/>
                      </a:cubicBezTo>
                      <a:cubicBezTo>
                        <a:pt x="93" y="13"/>
                        <a:pt x="109" y="11"/>
                        <a:pt x="115" y="21"/>
                      </a:cubicBezTo>
                      <a:cubicBezTo>
                        <a:pt x="115" y="21"/>
                        <a:pt x="127" y="30"/>
                        <a:pt x="124" y="38"/>
                      </a:cubicBezTo>
                      <a:cubicBezTo>
                        <a:pt x="124" y="38"/>
                        <a:pt x="127" y="49"/>
                        <a:pt x="146" y="53"/>
                      </a:cubicBezTo>
                      <a:cubicBezTo>
                        <a:pt x="146" y="53"/>
                        <a:pt x="146" y="53"/>
                        <a:pt x="146" y="53"/>
                      </a:cubicBezTo>
                      <a:cubicBezTo>
                        <a:pt x="145" y="83"/>
                        <a:pt x="145" y="83"/>
                        <a:pt x="145" y="83"/>
                      </a:cubicBezTo>
                      <a:cubicBezTo>
                        <a:pt x="144" y="104"/>
                        <a:pt x="144" y="104"/>
                        <a:pt x="144" y="104"/>
                      </a:cubicBezTo>
                      <a:cubicBezTo>
                        <a:pt x="144" y="104"/>
                        <a:pt x="144" y="104"/>
                        <a:pt x="144" y="104"/>
                      </a:cubicBezTo>
                      <a:cubicBezTo>
                        <a:pt x="144" y="104"/>
                        <a:pt x="158" y="102"/>
                        <a:pt x="156" y="114"/>
                      </a:cubicBezTo>
                      <a:cubicBezTo>
                        <a:pt x="156" y="114"/>
                        <a:pt x="153" y="127"/>
                        <a:pt x="164" y="127"/>
                      </a:cubicBezTo>
                      <a:cubicBezTo>
                        <a:pt x="164" y="127"/>
                        <a:pt x="175" y="131"/>
                        <a:pt x="168" y="141"/>
                      </a:cubicBezTo>
                      <a:cubicBezTo>
                        <a:pt x="168" y="141"/>
                        <a:pt x="162" y="152"/>
                        <a:pt x="190" y="148"/>
                      </a:cubicBezTo>
                      <a:cubicBezTo>
                        <a:pt x="190" y="148"/>
                        <a:pt x="204" y="143"/>
                        <a:pt x="212" y="158"/>
                      </a:cubicBezTo>
                      <a:cubicBezTo>
                        <a:pt x="212" y="158"/>
                        <a:pt x="217" y="165"/>
                        <a:pt x="217" y="171"/>
                      </a:cubicBezTo>
                      <a:cubicBezTo>
                        <a:pt x="217" y="171"/>
                        <a:pt x="215" y="184"/>
                        <a:pt x="225" y="188"/>
                      </a:cubicBezTo>
                      <a:cubicBezTo>
                        <a:pt x="225" y="188"/>
                        <a:pt x="239" y="200"/>
                        <a:pt x="270" y="189"/>
                      </a:cubicBezTo>
                      <a:cubicBezTo>
                        <a:pt x="275" y="181"/>
                        <a:pt x="285" y="186"/>
                        <a:pt x="285" y="181"/>
                      </a:cubicBezTo>
                      <a:cubicBezTo>
                        <a:pt x="285" y="181"/>
                        <a:pt x="288" y="163"/>
                        <a:pt x="300" y="180"/>
                      </a:cubicBezTo>
                      <a:cubicBezTo>
                        <a:pt x="300" y="180"/>
                        <a:pt x="303" y="189"/>
                        <a:pt x="315" y="187"/>
                      </a:cubicBezTo>
                      <a:cubicBezTo>
                        <a:pt x="315" y="187"/>
                        <a:pt x="298" y="196"/>
                        <a:pt x="314" y="210"/>
                      </a:cubicBezTo>
                      <a:cubicBezTo>
                        <a:pt x="325" y="206"/>
                        <a:pt x="317" y="218"/>
                        <a:pt x="325" y="220"/>
                      </a:cubicBezTo>
                      <a:cubicBezTo>
                        <a:pt x="327" y="233"/>
                        <a:pt x="322" y="240"/>
                        <a:pt x="322" y="240"/>
                      </a:cubicBezTo>
                      <a:cubicBezTo>
                        <a:pt x="322" y="240"/>
                        <a:pt x="303" y="244"/>
                        <a:pt x="305" y="256"/>
                      </a:cubicBezTo>
                      <a:cubicBezTo>
                        <a:pt x="308" y="261"/>
                        <a:pt x="295" y="261"/>
                        <a:pt x="294" y="269"/>
                      </a:cubicBezTo>
                      <a:cubicBezTo>
                        <a:pt x="294" y="269"/>
                        <a:pt x="300" y="282"/>
                        <a:pt x="289" y="285"/>
                      </a:cubicBezTo>
                      <a:cubicBezTo>
                        <a:pt x="289" y="285"/>
                        <a:pt x="287" y="313"/>
                        <a:pt x="272" y="311"/>
                      </a:cubicBezTo>
                      <a:cubicBezTo>
                        <a:pt x="272" y="311"/>
                        <a:pt x="255" y="315"/>
                        <a:pt x="248" y="308"/>
                      </a:cubicBezTo>
                      <a:cubicBezTo>
                        <a:pt x="248" y="308"/>
                        <a:pt x="238" y="297"/>
                        <a:pt x="230" y="309"/>
                      </a:cubicBezTo>
                      <a:cubicBezTo>
                        <a:pt x="230" y="309"/>
                        <a:pt x="215" y="302"/>
                        <a:pt x="215" y="329"/>
                      </a:cubicBezTo>
                      <a:cubicBezTo>
                        <a:pt x="215" y="329"/>
                        <a:pt x="216" y="345"/>
                        <a:pt x="209" y="357"/>
                      </a:cubicBezTo>
                      <a:cubicBezTo>
                        <a:pt x="209" y="357"/>
                        <a:pt x="208" y="365"/>
                        <a:pt x="208" y="374"/>
                      </a:cubicBezTo>
                      <a:cubicBezTo>
                        <a:pt x="208" y="374"/>
                        <a:pt x="191" y="383"/>
                        <a:pt x="190" y="392"/>
                      </a:cubicBezTo>
                      <a:cubicBezTo>
                        <a:pt x="190" y="392"/>
                        <a:pt x="188" y="405"/>
                        <a:pt x="165" y="406"/>
                      </a:cubicBezTo>
                      <a:cubicBezTo>
                        <a:pt x="165" y="406"/>
                        <a:pt x="158" y="397"/>
                        <a:pt x="135" y="406"/>
                      </a:cubicBezTo>
                      <a:cubicBezTo>
                        <a:pt x="135" y="406"/>
                        <a:pt x="125" y="394"/>
                        <a:pt x="125" y="412"/>
                      </a:cubicBezTo>
                      <a:cubicBezTo>
                        <a:pt x="125" y="412"/>
                        <a:pt x="127" y="427"/>
                        <a:pt x="120" y="422"/>
                      </a:cubicBezTo>
                      <a:cubicBezTo>
                        <a:pt x="120" y="422"/>
                        <a:pt x="114" y="416"/>
                        <a:pt x="103" y="416"/>
                      </a:cubicBezTo>
                      <a:cubicBezTo>
                        <a:pt x="103" y="416"/>
                        <a:pt x="94" y="401"/>
                        <a:pt x="89" y="416"/>
                      </a:cubicBezTo>
                      <a:cubicBezTo>
                        <a:pt x="89" y="416"/>
                        <a:pt x="72" y="415"/>
                        <a:pt x="68" y="424"/>
                      </a:cubicBezTo>
                      <a:cubicBezTo>
                        <a:pt x="68" y="424"/>
                        <a:pt x="61" y="434"/>
                        <a:pt x="52" y="432"/>
                      </a:cubicBezTo>
                      <a:cubicBezTo>
                        <a:pt x="45" y="434"/>
                        <a:pt x="51" y="420"/>
                        <a:pt x="40" y="425"/>
                      </a:cubicBezTo>
                      <a:cubicBezTo>
                        <a:pt x="31" y="407"/>
                        <a:pt x="21" y="408"/>
                        <a:pt x="21" y="408"/>
                      </a:cubicBezTo>
                      <a:cubicBezTo>
                        <a:pt x="15" y="397"/>
                        <a:pt x="24" y="394"/>
                        <a:pt x="24" y="394"/>
                      </a:cubicBezTo>
                      <a:cubicBezTo>
                        <a:pt x="31" y="379"/>
                        <a:pt x="22" y="365"/>
                        <a:pt x="22" y="365"/>
                      </a:cubicBezTo>
                      <a:cubicBezTo>
                        <a:pt x="17" y="361"/>
                        <a:pt x="27" y="346"/>
                        <a:pt x="17" y="346"/>
                      </a:cubicBezTo>
                      <a:cubicBezTo>
                        <a:pt x="17" y="346"/>
                        <a:pt x="17" y="346"/>
                        <a:pt x="17" y="346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8" name="Freeform 48"/>
                <p:cNvSpPr>
                  <a:spLocks/>
                </p:cNvSpPr>
                <p:nvPr/>
              </p:nvSpPr>
              <p:spPr bwMode="auto">
                <a:xfrm>
                  <a:off x="3179346" y="2171107"/>
                  <a:ext cx="937789" cy="952474"/>
                </a:xfrm>
                <a:custGeom>
                  <a:avLst/>
                  <a:gdLst/>
                  <a:ahLst/>
                  <a:cxnLst>
                    <a:cxn ang="0">
                      <a:pos x="185" y="376"/>
                    </a:cxn>
                    <a:cxn ang="0">
                      <a:pos x="175" y="364"/>
                    </a:cxn>
                    <a:cxn ang="0">
                      <a:pos x="176" y="341"/>
                    </a:cxn>
                    <a:cxn ang="0">
                      <a:pos x="161" y="334"/>
                    </a:cxn>
                    <a:cxn ang="0">
                      <a:pos x="146" y="335"/>
                    </a:cxn>
                    <a:cxn ang="0">
                      <a:pos x="131" y="343"/>
                    </a:cxn>
                    <a:cxn ang="0">
                      <a:pos x="86" y="342"/>
                    </a:cxn>
                    <a:cxn ang="0">
                      <a:pos x="78" y="324"/>
                    </a:cxn>
                    <a:cxn ang="0">
                      <a:pos x="73" y="312"/>
                    </a:cxn>
                    <a:cxn ang="0">
                      <a:pos x="51" y="302"/>
                    </a:cxn>
                    <a:cxn ang="0">
                      <a:pos x="29" y="295"/>
                    </a:cxn>
                    <a:cxn ang="0">
                      <a:pos x="25" y="281"/>
                    </a:cxn>
                    <a:cxn ang="0">
                      <a:pos x="17" y="268"/>
                    </a:cxn>
                    <a:cxn ang="0">
                      <a:pos x="5" y="258"/>
                    </a:cxn>
                    <a:cxn ang="0">
                      <a:pos x="5" y="258"/>
                    </a:cxn>
                    <a:cxn ang="0">
                      <a:pos x="6" y="237"/>
                    </a:cxn>
                    <a:cxn ang="0">
                      <a:pos x="7" y="207"/>
                    </a:cxn>
                    <a:cxn ang="0">
                      <a:pos x="7" y="207"/>
                    </a:cxn>
                    <a:cxn ang="0">
                      <a:pos x="14" y="200"/>
                    </a:cxn>
                    <a:cxn ang="0">
                      <a:pos x="11" y="163"/>
                    </a:cxn>
                    <a:cxn ang="0">
                      <a:pos x="14" y="130"/>
                    </a:cxn>
                    <a:cxn ang="0">
                      <a:pos x="29" y="97"/>
                    </a:cxn>
                    <a:cxn ang="0">
                      <a:pos x="43" y="82"/>
                    </a:cxn>
                    <a:cxn ang="0">
                      <a:pos x="52" y="66"/>
                    </a:cxn>
                    <a:cxn ang="0">
                      <a:pos x="78" y="60"/>
                    </a:cxn>
                    <a:cxn ang="0">
                      <a:pos x="91" y="59"/>
                    </a:cxn>
                    <a:cxn ang="0">
                      <a:pos x="131" y="56"/>
                    </a:cxn>
                    <a:cxn ang="0">
                      <a:pos x="161" y="61"/>
                    </a:cxn>
                    <a:cxn ang="0">
                      <a:pos x="176" y="65"/>
                    </a:cxn>
                    <a:cxn ang="0">
                      <a:pos x="203" y="52"/>
                    </a:cxn>
                    <a:cxn ang="0">
                      <a:pos x="210" y="24"/>
                    </a:cxn>
                    <a:cxn ang="0">
                      <a:pos x="231" y="16"/>
                    </a:cxn>
                    <a:cxn ang="0">
                      <a:pos x="257" y="24"/>
                    </a:cxn>
                    <a:cxn ang="0">
                      <a:pos x="295" y="8"/>
                    </a:cxn>
                    <a:cxn ang="0">
                      <a:pos x="327" y="4"/>
                    </a:cxn>
                    <a:cxn ang="0">
                      <a:pos x="319" y="24"/>
                    </a:cxn>
                    <a:cxn ang="0">
                      <a:pos x="318" y="49"/>
                    </a:cxn>
                    <a:cxn ang="0">
                      <a:pos x="330" y="61"/>
                    </a:cxn>
                    <a:cxn ang="0">
                      <a:pos x="321" y="71"/>
                    </a:cxn>
                    <a:cxn ang="0">
                      <a:pos x="319" y="79"/>
                    </a:cxn>
                    <a:cxn ang="0">
                      <a:pos x="307" y="87"/>
                    </a:cxn>
                    <a:cxn ang="0">
                      <a:pos x="292" y="103"/>
                    </a:cxn>
                    <a:cxn ang="0">
                      <a:pos x="295" y="132"/>
                    </a:cxn>
                    <a:cxn ang="0">
                      <a:pos x="297" y="151"/>
                    </a:cxn>
                    <a:cxn ang="0">
                      <a:pos x="293" y="175"/>
                    </a:cxn>
                    <a:cxn ang="0">
                      <a:pos x="285" y="189"/>
                    </a:cxn>
                    <a:cxn ang="0">
                      <a:pos x="289" y="216"/>
                    </a:cxn>
                    <a:cxn ang="0">
                      <a:pos x="278" y="230"/>
                    </a:cxn>
                    <a:cxn ang="0">
                      <a:pos x="285" y="243"/>
                    </a:cxn>
                    <a:cxn ang="0">
                      <a:pos x="294" y="251"/>
                    </a:cxn>
                    <a:cxn ang="0">
                      <a:pos x="306" y="245"/>
                    </a:cxn>
                    <a:cxn ang="0">
                      <a:pos x="306" y="264"/>
                    </a:cxn>
                    <a:cxn ang="0">
                      <a:pos x="297" y="284"/>
                    </a:cxn>
                    <a:cxn ang="0">
                      <a:pos x="300" y="309"/>
                    </a:cxn>
                    <a:cxn ang="0">
                      <a:pos x="292" y="339"/>
                    </a:cxn>
                    <a:cxn ang="0">
                      <a:pos x="279" y="357"/>
                    </a:cxn>
                    <a:cxn ang="0">
                      <a:pos x="259" y="368"/>
                    </a:cxn>
                    <a:cxn ang="0">
                      <a:pos x="227" y="368"/>
                    </a:cxn>
                    <a:cxn ang="0">
                      <a:pos x="205" y="368"/>
                    </a:cxn>
                    <a:cxn ang="0">
                      <a:pos x="185" y="376"/>
                    </a:cxn>
                    <a:cxn ang="0">
                      <a:pos x="185" y="376"/>
                    </a:cxn>
                  </a:cxnLst>
                  <a:rect l="0" t="0" r="r" b="b"/>
                  <a:pathLst>
                    <a:path w="331" h="381">
                      <a:moveTo>
                        <a:pt x="185" y="376"/>
                      </a:moveTo>
                      <a:cubicBezTo>
                        <a:pt x="177" y="374"/>
                        <a:pt x="186" y="360"/>
                        <a:pt x="175" y="364"/>
                      </a:cubicBezTo>
                      <a:cubicBezTo>
                        <a:pt x="159" y="350"/>
                        <a:pt x="176" y="341"/>
                        <a:pt x="176" y="341"/>
                      </a:cubicBezTo>
                      <a:cubicBezTo>
                        <a:pt x="164" y="343"/>
                        <a:pt x="161" y="334"/>
                        <a:pt x="161" y="334"/>
                      </a:cubicBezTo>
                      <a:cubicBezTo>
                        <a:pt x="149" y="317"/>
                        <a:pt x="146" y="335"/>
                        <a:pt x="146" y="335"/>
                      </a:cubicBezTo>
                      <a:cubicBezTo>
                        <a:pt x="146" y="340"/>
                        <a:pt x="136" y="335"/>
                        <a:pt x="131" y="343"/>
                      </a:cubicBezTo>
                      <a:cubicBezTo>
                        <a:pt x="100" y="354"/>
                        <a:pt x="86" y="342"/>
                        <a:pt x="86" y="342"/>
                      </a:cubicBezTo>
                      <a:cubicBezTo>
                        <a:pt x="76" y="338"/>
                        <a:pt x="78" y="324"/>
                        <a:pt x="78" y="324"/>
                      </a:cubicBezTo>
                      <a:cubicBezTo>
                        <a:pt x="78" y="318"/>
                        <a:pt x="73" y="312"/>
                        <a:pt x="73" y="312"/>
                      </a:cubicBezTo>
                      <a:cubicBezTo>
                        <a:pt x="65" y="297"/>
                        <a:pt x="51" y="302"/>
                        <a:pt x="51" y="302"/>
                      </a:cubicBezTo>
                      <a:cubicBezTo>
                        <a:pt x="23" y="306"/>
                        <a:pt x="29" y="295"/>
                        <a:pt x="29" y="295"/>
                      </a:cubicBezTo>
                      <a:cubicBezTo>
                        <a:pt x="36" y="285"/>
                        <a:pt x="25" y="281"/>
                        <a:pt x="25" y="281"/>
                      </a:cubicBezTo>
                      <a:cubicBezTo>
                        <a:pt x="14" y="281"/>
                        <a:pt x="17" y="268"/>
                        <a:pt x="17" y="268"/>
                      </a:cubicBezTo>
                      <a:cubicBezTo>
                        <a:pt x="19" y="256"/>
                        <a:pt x="5" y="258"/>
                        <a:pt x="5" y="258"/>
                      </a:cubicBezTo>
                      <a:cubicBezTo>
                        <a:pt x="5" y="258"/>
                        <a:pt x="5" y="258"/>
                        <a:pt x="5" y="258"/>
                      </a:cubicBezTo>
                      <a:cubicBezTo>
                        <a:pt x="6" y="237"/>
                        <a:pt x="6" y="237"/>
                        <a:pt x="6" y="237"/>
                      </a:cubicBezTo>
                      <a:cubicBezTo>
                        <a:pt x="7" y="207"/>
                        <a:pt x="7" y="207"/>
                        <a:pt x="7" y="207"/>
                      </a:cubicBezTo>
                      <a:cubicBezTo>
                        <a:pt x="7" y="207"/>
                        <a:pt x="7" y="207"/>
                        <a:pt x="7" y="207"/>
                      </a:cubicBezTo>
                      <a:cubicBezTo>
                        <a:pt x="7" y="207"/>
                        <a:pt x="6" y="197"/>
                        <a:pt x="14" y="200"/>
                      </a:cubicBezTo>
                      <a:cubicBezTo>
                        <a:pt x="23" y="182"/>
                        <a:pt x="7" y="182"/>
                        <a:pt x="11" y="163"/>
                      </a:cubicBezTo>
                      <a:cubicBezTo>
                        <a:pt x="11" y="163"/>
                        <a:pt x="0" y="155"/>
                        <a:pt x="14" y="130"/>
                      </a:cubicBezTo>
                      <a:cubicBezTo>
                        <a:pt x="22" y="124"/>
                        <a:pt x="18" y="108"/>
                        <a:pt x="29" y="97"/>
                      </a:cubicBezTo>
                      <a:cubicBezTo>
                        <a:pt x="39" y="92"/>
                        <a:pt x="36" y="83"/>
                        <a:pt x="43" y="82"/>
                      </a:cubicBezTo>
                      <a:cubicBezTo>
                        <a:pt x="43" y="82"/>
                        <a:pt x="53" y="75"/>
                        <a:pt x="52" y="66"/>
                      </a:cubicBezTo>
                      <a:cubicBezTo>
                        <a:pt x="52" y="66"/>
                        <a:pt x="47" y="53"/>
                        <a:pt x="78" y="60"/>
                      </a:cubicBezTo>
                      <a:cubicBezTo>
                        <a:pt x="78" y="60"/>
                        <a:pt x="89" y="75"/>
                        <a:pt x="91" y="59"/>
                      </a:cubicBezTo>
                      <a:cubicBezTo>
                        <a:pt x="91" y="59"/>
                        <a:pt x="97" y="45"/>
                        <a:pt x="131" y="56"/>
                      </a:cubicBezTo>
                      <a:cubicBezTo>
                        <a:pt x="131" y="56"/>
                        <a:pt x="159" y="52"/>
                        <a:pt x="161" y="61"/>
                      </a:cubicBezTo>
                      <a:cubicBezTo>
                        <a:pt x="161" y="61"/>
                        <a:pt x="155" y="71"/>
                        <a:pt x="176" y="65"/>
                      </a:cubicBezTo>
                      <a:cubicBezTo>
                        <a:pt x="176" y="65"/>
                        <a:pt x="183" y="69"/>
                        <a:pt x="203" y="52"/>
                      </a:cubicBezTo>
                      <a:cubicBezTo>
                        <a:pt x="203" y="38"/>
                        <a:pt x="209" y="38"/>
                        <a:pt x="210" y="24"/>
                      </a:cubicBezTo>
                      <a:cubicBezTo>
                        <a:pt x="210" y="24"/>
                        <a:pt x="200" y="7"/>
                        <a:pt x="231" y="16"/>
                      </a:cubicBezTo>
                      <a:cubicBezTo>
                        <a:pt x="231" y="16"/>
                        <a:pt x="249" y="28"/>
                        <a:pt x="257" y="24"/>
                      </a:cubicBezTo>
                      <a:cubicBezTo>
                        <a:pt x="273" y="24"/>
                        <a:pt x="270" y="27"/>
                        <a:pt x="295" y="8"/>
                      </a:cubicBezTo>
                      <a:cubicBezTo>
                        <a:pt x="295" y="8"/>
                        <a:pt x="296" y="0"/>
                        <a:pt x="327" y="4"/>
                      </a:cubicBezTo>
                      <a:cubicBezTo>
                        <a:pt x="322" y="11"/>
                        <a:pt x="319" y="24"/>
                        <a:pt x="319" y="24"/>
                      </a:cubicBezTo>
                      <a:cubicBezTo>
                        <a:pt x="309" y="46"/>
                        <a:pt x="318" y="49"/>
                        <a:pt x="318" y="49"/>
                      </a:cubicBezTo>
                      <a:cubicBezTo>
                        <a:pt x="330" y="53"/>
                        <a:pt x="330" y="61"/>
                        <a:pt x="330" y="61"/>
                      </a:cubicBezTo>
                      <a:cubicBezTo>
                        <a:pt x="331" y="65"/>
                        <a:pt x="318" y="59"/>
                        <a:pt x="321" y="71"/>
                      </a:cubicBezTo>
                      <a:cubicBezTo>
                        <a:pt x="317" y="75"/>
                        <a:pt x="319" y="79"/>
                        <a:pt x="319" y="79"/>
                      </a:cubicBezTo>
                      <a:cubicBezTo>
                        <a:pt x="322" y="90"/>
                        <a:pt x="307" y="87"/>
                        <a:pt x="307" y="87"/>
                      </a:cubicBezTo>
                      <a:cubicBezTo>
                        <a:pt x="296" y="90"/>
                        <a:pt x="292" y="103"/>
                        <a:pt x="292" y="103"/>
                      </a:cubicBezTo>
                      <a:cubicBezTo>
                        <a:pt x="278" y="114"/>
                        <a:pt x="295" y="132"/>
                        <a:pt x="295" y="132"/>
                      </a:cubicBezTo>
                      <a:cubicBezTo>
                        <a:pt x="300" y="132"/>
                        <a:pt x="297" y="151"/>
                        <a:pt x="297" y="151"/>
                      </a:cubicBezTo>
                      <a:cubicBezTo>
                        <a:pt x="305" y="162"/>
                        <a:pt x="292" y="158"/>
                        <a:pt x="293" y="175"/>
                      </a:cubicBezTo>
                      <a:cubicBezTo>
                        <a:pt x="297" y="191"/>
                        <a:pt x="285" y="189"/>
                        <a:pt x="285" y="189"/>
                      </a:cubicBezTo>
                      <a:cubicBezTo>
                        <a:pt x="291" y="206"/>
                        <a:pt x="289" y="216"/>
                        <a:pt x="289" y="216"/>
                      </a:cubicBezTo>
                      <a:cubicBezTo>
                        <a:pt x="287" y="222"/>
                        <a:pt x="275" y="217"/>
                        <a:pt x="278" y="230"/>
                      </a:cubicBezTo>
                      <a:cubicBezTo>
                        <a:pt x="274" y="240"/>
                        <a:pt x="285" y="243"/>
                        <a:pt x="285" y="243"/>
                      </a:cubicBezTo>
                      <a:cubicBezTo>
                        <a:pt x="291" y="240"/>
                        <a:pt x="287" y="252"/>
                        <a:pt x="294" y="251"/>
                      </a:cubicBezTo>
                      <a:cubicBezTo>
                        <a:pt x="300" y="251"/>
                        <a:pt x="297" y="244"/>
                        <a:pt x="306" y="245"/>
                      </a:cubicBezTo>
                      <a:cubicBezTo>
                        <a:pt x="296" y="258"/>
                        <a:pt x="306" y="264"/>
                        <a:pt x="306" y="264"/>
                      </a:cubicBezTo>
                      <a:cubicBezTo>
                        <a:pt x="305" y="274"/>
                        <a:pt x="296" y="276"/>
                        <a:pt x="297" y="284"/>
                      </a:cubicBezTo>
                      <a:cubicBezTo>
                        <a:pt x="296" y="291"/>
                        <a:pt x="306" y="299"/>
                        <a:pt x="300" y="309"/>
                      </a:cubicBezTo>
                      <a:cubicBezTo>
                        <a:pt x="300" y="327"/>
                        <a:pt x="292" y="339"/>
                        <a:pt x="292" y="339"/>
                      </a:cubicBezTo>
                      <a:cubicBezTo>
                        <a:pt x="292" y="347"/>
                        <a:pt x="279" y="357"/>
                        <a:pt x="279" y="357"/>
                      </a:cubicBezTo>
                      <a:cubicBezTo>
                        <a:pt x="270" y="371"/>
                        <a:pt x="259" y="368"/>
                        <a:pt x="259" y="368"/>
                      </a:cubicBezTo>
                      <a:cubicBezTo>
                        <a:pt x="237" y="377"/>
                        <a:pt x="227" y="368"/>
                        <a:pt x="227" y="368"/>
                      </a:cubicBezTo>
                      <a:cubicBezTo>
                        <a:pt x="217" y="358"/>
                        <a:pt x="205" y="368"/>
                        <a:pt x="205" y="368"/>
                      </a:cubicBezTo>
                      <a:cubicBezTo>
                        <a:pt x="197" y="381"/>
                        <a:pt x="185" y="376"/>
                        <a:pt x="185" y="376"/>
                      </a:cubicBezTo>
                      <a:cubicBezTo>
                        <a:pt x="185" y="376"/>
                        <a:pt x="185" y="376"/>
                        <a:pt x="185" y="376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9" name="Freeform 47"/>
                <p:cNvSpPr>
                  <a:spLocks/>
                </p:cNvSpPr>
                <p:nvPr/>
              </p:nvSpPr>
              <p:spPr bwMode="auto">
                <a:xfrm>
                  <a:off x="3955166" y="2149642"/>
                  <a:ext cx="914650" cy="1046380"/>
                </a:xfrm>
                <a:custGeom>
                  <a:avLst/>
                  <a:gdLst/>
                  <a:ahLst/>
                  <a:cxnLst>
                    <a:cxn ang="0">
                      <a:pos x="45" y="33"/>
                    </a:cxn>
                    <a:cxn ang="0">
                      <a:pos x="56" y="70"/>
                    </a:cxn>
                    <a:cxn ang="0">
                      <a:pos x="45" y="88"/>
                    </a:cxn>
                    <a:cxn ang="0">
                      <a:pos x="18" y="112"/>
                    </a:cxn>
                    <a:cxn ang="0">
                      <a:pos x="23" y="160"/>
                    </a:cxn>
                    <a:cxn ang="0">
                      <a:pos x="11" y="198"/>
                    </a:cxn>
                    <a:cxn ang="0">
                      <a:pos x="4" y="239"/>
                    </a:cxn>
                    <a:cxn ang="0">
                      <a:pos x="20" y="260"/>
                    </a:cxn>
                    <a:cxn ang="0">
                      <a:pos x="32" y="273"/>
                    </a:cxn>
                    <a:cxn ang="0">
                      <a:pos x="26" y="318"/>
                    </a:cxn>
                    <a:cxn ang="0">
                      <a:pos x="35" y="348"/>
                    </a:cxn>
                    <a:cxn ang="0">
                      <a:pos x="90" y="355"/>
                    </a:cxn>
                    <a:cxn ang="0">
                      <a:pos x="123" y="352"/>
                    </a:cxn>
                    <a:cxn ang="0">
                      <a:pos x="155" y="342"/>
                    </a:cxn>
                    <a:cxn ang="0">
                      <a:pos x="173" y="391"/>
                    </a:cxn>
                    <a:cxn ang="0">
                      <a:pos x="183" y="407"/>
                    </a:cxn>
                    <a:cxn ang="0">
                      <a:pos x="212" y="410"/>
                    </a:cxn>
                    <a:cxn ang="0">
                      <a:pos x="253" y="400"/>
                    </a:cxn>
                    <a:cxn ang="0">
                      <a:pos x="300" y="376"/>
                    </a:cxn>
                    <a:cxn ang="0">
                      <a:pos x="313" y="361"/>
                    </a:cxn>
                    <a:cxn ang="0">
                      <a:pos x="293" y="322"/>
                    </a:cxn>
                    <a:cxn ang="0">
                      <a:pos x="288" y="283"/>
                    </a:cxn>
                    <a:cxn ang="0">
                      <a:pos x="276" y="248"/>
                    </a:cxn>
                    <a:cxn ang="0">
                      <a:pos x="254" y="229"/>
                    </a:cxn>
                    <a:cxn ang="0">
                      <a:pos x="198" y="218"/>
                    </a:cxn>
                    <a:cxn ang="0">
                      <a:pos x="164" y="211"/>
                    </a:cxn>
                    <a:cxn ang="0">
                      <a:pos x="150" y="189"/>
                    </a:cxn>
                    <a:cxn ang="0">
                      <a:pos x="138" y="145"/>
                    </a:cxn>
                    <a:cxn ang="0">
                      <a:pos x="168" y="116"/>
                    </a:cxn>
                    <a:cxn ang="0">
                      <a:pos x="127" y="69"/>
                    </a:cxn>
                    <a:cxn ang="0">
                      <a:pos x="102" y="20"/>
                    </a:cxn>
                    <a:cxn ang="0">
                      <a:pos x="66" y="26"/>
                    </a:cxn>
                    <a:cxn ang="0">
                      <a:pos x="53" y="13"/>
                    </a:cxn>
                  </a:cxnLst>
                  <a:rect l="0" t="0" r="r" b="b"/>
                  <a:pathLst>
                    <a:path w="323" h="419">
                      <a:moveTo>
                        <a:pt x="53" y="13"/>
                      </a:moveTo>
                      <a:cubicBezTo>
                        <a:pt x="48" y="20"/>
                        <a:pt x="45" y="33"/>
                        <a:pt x="45" y="33"/>
                      </a:cubicBezTo>
                      <a:cubicBezTo>
                        <a:pt x="35" y="55"/>
                        <a:pt x="44" y="58"/>
                        <a:pt x="44" y="58"/>
                      </a:cubicBezTo>
                      <a:cubicBezTo>
                        <a:pt x="56" y="62"/>
                        <a:pt x="56" y="70"/>
                        <a:pt x="56" y="70"/>
                      </a:cubicBezTo>
                      <a:cubicBezTo>
                        <a:pt x="57" y="74"/>
                        <a:pt x="44" y="68"/>
                        <a:pt x="47" y="80"/>
                      </a:cubicBezTo>
                      <a:cubicBezTo>
                        <a:pt x="43" y="84"/>
                        <a:pt x="45" y="88"/>
                        <a:pt x="45" y="88"/>
                      </a:cubicBezTo>
                      <a:cubicBezTo>
                        <a:pt x="48" y="99"/>
                        <a:pt x="33" y="96"/>
                        <a:pt x="33" y="96"/>
                      </a:cubicBezTo>
                      <a:cubicBezTo>
                        <a:pt x="22" y="99"/>
                        <a:pt x="18" y="112"/>
                        <a:pt x="18" y="112"/>
                      </a:cubicBezTo>
                      <a:cubicBezTo>
                        <a:pt x="4" y="123"/>
                        <a:pt x="21" y="141"/>
                        <a:pt x="21" y="141"/>
                      </a:cubicBezTo>
                      <a:cubicBezTo>
                        <a:pt x="26" y="141"/>
                        <a:pt x="23" y="160"/>
                        <a:pt x="23" y="160"/>
                      </a:cubicBezTo>
                      <a:cubicBezTo>
                        <a:pt x="31" y="171"/>
                        <a:pt x="18" y="167"/>
                        <a:pt x="19" y="184"/>
                      </a:cubicBezTo>
                      <a:cubicBezTo>
                        <a:pt x="23" y="200"/>
                        <a:pt x="11" y="198"/>
                        <a:pt x="11" y="198"/>
                      </a:cubicBezTo>
                      <a:cubicBezTo>
                        <a:pt x="17" y="215"/>
                        <a:pt x="15" y="225"/>
                        <a:pt x="15" y="225"/>
                      </a:cubicBezTo>
                      <a:cubicBezTo>
                        <a:pt x="13" y="231"/>
                        <a:pt x="1" y="226"/>
                        <a:pt x="4" y="239"/>
                      </a:cubicBezTo>
                      <a:cubicBezTo>
                        <a:pt x="0" y="249"/>
                        <a:pt x="11" y="252"/>
                        <a:pt x="11" y="252"/>
                      </a:cubicBezTo>
                      <a:cubicBezTo>
                        <a:pt x="17" y="249"/>
                        <a:pt x="13" y="261"/>
                        <a:pt x="20" y="260"/>
                      </a:cubicBezTo>
                      <a:cubicBezTo>
                        <a:pt x="26" y="260"/>
                        <a:pt x="23" y="253"/>
                        <a:pt x="32" y="254"/>
                      </a:cubicBezTo>
                      <a:cubicBezTo>
                        <a:pt x="22" y="267"/>
                        <a:pt x="32" y="273"/>
                        <a:pt x="32" y="273"/>
                      </a:cubicBezTo>
                      <a:cubicBezTo>
                        <a:pt x="31" y="283"/>
                        <a:pt x="22" y="285"/>
                        <a:pt x="23" y="293"/>
                      </a:cubicBezTo>
                      <a:cubicBezTo>
                        <a:pt x="22" y="300"/>
                        <a:pt x="32" y="308"/>
                        <a:pt x="26" y="318"/>
                      </a:cubicBezTo>
                      <a:cubicBezTo>
                        <a:pt x="26" y="336"/>
                        <a:pt x="18" y="348"/>
                        <a:pt x="18" y="348"/>
                      </a:cubicBezTo>
                      <a:cubicBezTo>
                        <a:pt x="32" y="355"/>
                        <a:pt x="35" y="348"/>
                        <a:pt x="35" y="348"/>
                      </a:cubicBezTo>
                      <a:cubicBezTo>
                        <a:pt x="41" y="341"/>
                        <a:pt x="55" y="352"/>
                        <a:pt x="55" y="352"/>
                      </a:cubicBezTo>
                      <a:cubicBezTo>
                        <a:pt x="59" y="355"/>
                        <a:pt x="84" y="351"/>
                        <a:pt x="90" y="355"/>
                      </a:cubicBezTo>
                      <a:cubicBezTo>
                        <a:pt x="107" y="359"/>
                        <a:pt x="107" y="352"/>
                        <a:pt x="107" y="352"/>
                      </a:cubicBezTo>
                      <a:cubicBezTo>
                        <a:pt x="115" y="339"/>
                        <a:pt x="123" y="352"/>
                        <a:pt x="123" y="352"/>
                      </a:cubicBezTo>
                      <a:cubicBezTo>
                        <a:pt x="133" y="361"/>
                        <a:pt x="138" y="352"/>
                        <a:pt x="138" y="352"/>
                      </a:cubicBezTo>
                      <a:cubicBezTo>
                        <a:pt x="139" y="341"/>
                        <a:pt x="155" y="342"/>
                        <a:pt x="155" y="342"/>
                      </a:cubicBezTo>
                      <a:cubicBezTo>
                        <a:pt x="154" y="366"/>
                        <a:pt x="165" y="369"/>
                        <a:pt x="165" y="369"/>
                      </a:cubicBezTo>
                      <a:cubicBezTo>
                        <a:pt x="172" y="377"/>
                        <a:pt x="173" y="391"/>
                        <a:pt x="173" y="391"/>
                      </a:cubicBezTo>
                      <a:cubicBezTo>
                        <a:pt x="180" y="388"/>
                        <a:pt x="180" y="398"/>
                        <a:pt x="180" y="398"/>
                      </a:cubicBezTo>
                      <a:cubicBezTo>
                        <a:pt x="193" y="403"/>
                        <a:pt x="183" y="407"/>
                        <a:pt x="183" y="407"/>
                      </a:cubicBezTo>
                      <a:cubicBezTo>
                        <a:pt x="178" y="418"/>
                        <a:pt x="191" y="417"/>
                        <a:pt x="191" y="417"/>
                      </a:cubicBezTo>
                      <a:cubicBezTo>
                        <a:pt x="205" y="419"/>
                        <a:pt x="212" y="410"/>
                        <a:pt x="212" y="410"/>
                      </a:cubicBezTo>
                      <a:cubicBezTo>
                        <a:pt x="224" y="403"/>
                        <a:pt x="235" y="409"/>
                        <a:pt x="235" y="409"/>
                      </a:cubicBezTo>
                      <a:cubicBezTo>
                        <a:pt x="242" y="399"/>
                        <a:pt x="253" y="400"/>
                        <a:pt x="253" y="400"/>
                      </a:cubicBezTo>
                      <a:cubicBezTo>
                        <a:pt x="258" y="388"/>
                        <a:pt x="272" y="392"/>
                        <a:pt x="272" y="392"/>
                      </a:cubicBezTo>
                      <a:cubicBezTo>
                        <a:pt x="275" y="377"/>
                        <a:pt x="296" y="370"/>
                        <a:pt x="300" y="376"/>
                      </a:cubicBezTo>
                      <a:cubicBezTo>
                        <a:pt x="304" y="370"/>
                        <a:pt x="323" y="378"/>
                        <a:pt x="323" y="364"/>
                      </a:cubicBezTo>
                      <a:cubicBezTo>
                        <a:pt x="318" y="364"/>
                        <a:pt x="313" y="361"/>
                        <a:pt x="313" y="361"/>
                      </a:cubicBezTo>
                      <a:cubicBezTo>
                        <a:pt x="312" y="341"/>
                        <a:pt x="303" y="344"/>
                        <a:pt x="303" y="344"/>
                      </a:cubicBezTo>
                      <a:cubicBezTo>
                        <a:pt x="290" y="341"/>
                        <a:pt x="293" y="322"/>
                        <a:pt x="293" y="322"/>
                      </a:cubicBezTo>
                      <a:cubicBezTo>
                        <a:pt x="281" y="311"/>
                        <a:pt x="297" y="315"/>
                        <a:pt x="296" y="300"/>
                      </a:cubicBezTo>
                      <a:cubicBezTo>
                        <a:pt x="296" y="289"/>
                        <a:pt x="287" y="287"/>
                        <a:pt x="288" y="283"/>
                      </a:cubicBezTo>
                      <a:cubicBezTo>
                        <a:pt x="279" y="276"/>
                        <a:pt x="279" y="263"/>
                        <a:pt x="279" y="263"/>
                      </a:cubicBezTo>
                      <a:cubicBezTo>
                        <a:pt x="269" y="255"/>
                        <a:pt x="276" y="248"/>
                        <a:pt x="276" y="248"/>
                      </a:cubicBezTo>
                      <a:cubicBezTo>
                        <a:pt x="285" y="240"/>
                        <a:pt x="268" y="242"/>
                        <a:pt x="268" y="242"/>
                      </a:cubicBezTo>
                      <a:cubicBezTo>
                        <a:pt x="257" y="248"/>
                        <a:pt x="254" y="229"/>
                        <a:pt x="254" y="229"/>
                      </a:cubicBezTo>
                      <a:cubicBezTo>
                        <a:pt x="254" y="205"/>
                        <a:pt x="231" y="215"/>
                        <a:pt x="231" y="215"/>
                      </a:cubicBezTo>
                      <a:cubicBezTo>
                        <a:pt x="215" y="227"/>
                        <a:pt x="198" y="218"/>
                        <a:pt x="198" y="218"/>
                      </a:cubicBezTo>
                      <a:cubicBezTo>
                        <a:pt x="192" y="207"/>
                        <a:pt x="180" y="211"/>
                        <a:pt x="180" y="211"/>
                      </a:cubicBezTo>
                      <a:cubicBezTo>
                        <a:pt x="172" y="202"/>
                        <a:pt x="164" y="211"/>
                        <a:pt x="164" y="211"/>
                      </a:cubicBezTo>
                      <a:cubicBezTo>
                        <a:pt x="139" y="217"/>
                        <a:pt x="154" y="205"/>
                        <a:pt x="154" y="205"/>
                      </a:cubicBezTo>
                      <a:cubicBezTo>
                        <a:pt x="164" y="187"/>
                        <a:pt x="150" y="189"/>
                        <a:pt x="150" y="189"/>
                      </a:cubicBezTo>
                      <a:cubicBezTo>
                        <a:pt x="144" y="190"/>
                        <a:pt x="149" y="168"/>
                        <a:pt x="149" y="168"/>
                      </a:cubicBezTo>
                      <a:cubicBezTo>
                        <a:pt x="149" y="155"/>
                        <a:pt x="138" y="145"/>
                        <a:pt x="138" y="145"/>
                      </a:cubicBezTo>
                      <a:cubicBezTo>
                        <a:pt x="124" y="134"/>
                        <a:pt x="150" y="128"/>
                        <a:pt x="150" y="128"/>
                      </a:cubicBezTo>
                      <a:cubicBezTo>
                        <a:pt x="169" y="128"/>
                        <a:pt x="168" y="116"/>
                        <a:pt x="168" y="116"/>
                      </a:cubicBezTo>
                      <a:cubicBezTo>
                        <a:pt x="169" y="106"/>
                        <a:pt x="149" y="95"/>
                        <a:pt x="149" y="95"/>
                      </a:cubicBezTo>
                      <a:cubicBezTo>
                        <a:pt x="129" y="84"/>
                        <a:pt x="127" y="69"/>
                        <a:pt x="127" y="69"/>
                      </a:cubicBezTo>
                      <a:cubicBezTo>
                        <a:pt x="118" y="55"/>
                        <a:pt x="139" y="51"/>
                        <a:pt x="119" y="40"/>
                      </a:cubicBezTo>
                      <a:cubicBezTo>
                        <a:pt x="109" y="40"/>
                        <a:pt x="102" y="20"/>
                        <a:pt x="102" y="20"/>
                      </a:cubicBezTo>
                      <a:cubicBezTo>
                        <a:pt x="92" y="0"/>
                        <a:pt x="84" y="13"/>
                        <a:pt x="84" y="13"/>
                      </a:cubicBezTo>
                      <a:cubicBezTo>
                        <a:pt x="73" y="13"/>
                        <a:pt x="66" y="26"/>
                        <a:pt x="66" y="26"/>
                      </a:cubicBezTo>
                      <a:cubicBezTo>
                        <a:pt x="58" y="29"/>
                        <a:pt x="68" y="10"/>
                        <a:pt x="53" y="13"/>
                      </a:cubicBezTo>
                      <a:cubicBezTo>
                        <a:pt x="53" y="13"/>
                        <a:pt x="53" y="13"/>
                        <a:pt x="53" y="13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0" name="Freeform 46"/>
                <p:cNvSpPr>
                  <a:spLocks/>
                </p:cNvSpPr>
                <p:nvPr/>
              </p:nvSpPr>
              <p:spPr bwMode="auto">
                <a:xfrm>
                  <a:off x="3697921" y="2996136"/>
                  <a:ext cx="1133785" cy="827714"/>
                </a:xfrm>
                <a:custGeom>
                  <a:avLst/>
                  <a:gdLst/>
                  <a:ahLst/>
                  <a:cxnLst>
                    <a:cxn ang="0">
                      <a:pos x="326" y="70"/>
                    </a:cxn>
                    <a:cxn ang="0">
                      <a:pos x="324" y="92"/>
                    </a:cxn>
                    <a:cxn ang="0">
                      <a:pos x="327" y="112"/>
                    </a:cxn>
                    <a:cxn ang="0">
                      <a:pos x="349" y="123"/>
                    </a:cxn>
                    <a:cxn ang="0">
                      <a:pos x="363" y="137"/>
                    </a:cxn>
                    <a:cxn ang="0">
                      <a:pos x="383" y="152"/>
                    </a:cxn>
                    <a:cxn ang="0">
                      <a:pos x="393" y="160"/>
                    </a:cxn>
                    <a:cxn ang="0">
                      <a:pos x="390" y="185"/>
                    </a:cxn>
                    <a:cxn ang="0">
                      <a:pos x="383" y="198"/>
                    </a:cxn>
                    <a:cxn ang="0">
                      <a:pos x="380" y="216"/>
                    </a:cxn>
                    <a:cxn ang="0">
                      <a:pos x="359" y="221"/>
                    </a:cxn>
                    <a:cxn ang="0">
                      <a:pos x="343" y="246"/>
                    </a:cxn>
                    <a:cxn ang="0">
                      <a:pos x="315" y="250"/>
                    </a:cxn>
                    <a:cxn ang="0">
                      <a:pos x="285" y="265"/>
                    </a:cxn>
                    <a:cxn ang="0">
                      <a:pos x="270" y="284"/>
                    </a:cxn>
                    <a:cxn ang="0">
                      <a:pos x="266" y="301"/>
                    </a:cxn>
                    <a:cxn ang="0">
                      <a:pos x="263" y="321"/>
                    </a:cxn>
                    <a:cxn ang="0">
                      <a:pos x="242" y="318"/>
                    </a:cxn>
                    <a:cxn ang="0">
                      <a:pos x="219" y="307"/>
                    </a:cxn>
                    <a:cxn ang="0">
                      <a:pos x="185" y="299"/>
                    </a:cxn>
                    <a:cxn ang="0">
                      <a:pos x="168" y="298"/>
                    </a:cxn>
                    <a:cxn ang="0">
                      <a:pos x="150" y="284"/>
                    </a:cxn>
                    <a:cxn ang="0">
                      <a:pos x="136" y="273"/>
                    </a:cxn>
                    <a:cxn ang="0">
                      <a:pos x="126" y="260"/>
                    </a:cxn>
                    <a:cxn ang="0">
                      <a:pos x="96" y="249"/>
                    </a:cxn>
                    <a:cxn ang="0">
                      <a:pos x="84" y="240"/>
                    </a:cxn>
                    <a:cxn ang="0">
                      <a:pos x="75" y="210"/>
                    </a:cxn>
                    <a:cxn ang="0">
                      <a:pos x="74" y="188"/>
                    </a:cxn>
                    <a:cxn ang="0">
                      <a:pos x="73" y="174"/>
                    </a:cxn>
                    <a:cxn ang="0">
                      <a:pos x="58" y="161"/>
                    </a:cxn>
                    <a:cxn ang="0">
                      <a:pos x="43" y="143"/>
                    </a:cxn>
                    <a:cxn ang="0">
                      <a:pos x="36" y="128"/>
                    </a:cxn>
                    <a:cxn ang="0">
                      <a:pos x="34" y="110"/>
                    </a:cxn>
                    <a:cxn ang="0">
                      <a:pos x="24" y="99"/>
                    </a:cxn>
                    <a:cxn ang="0">
                      <a:pos x="15" y="79"/>
                    </a:cxn>
                    <a:cxn ang="0">
                      <a:pos x="0" y="63"/>
                    </a:cxn>
                    <a:cxn ang="0">
                      <a:pos x="3" y="46"/>
                    </a:cxn>
                    <a:cxn ang="0">
                      <a:pos x="22" y="38"/>
                    </a:cxn>
                    <a:cxn ang="0">
                      <a:pos x="44" y="38"/>
                    </a:cxn>
                    <a:cxn ang="0">
                      <a:pos x="76" y="38"/>
                    </a:cxn>
                    <a:cxn ang="0">
                      <a:pos x="96" y="27"/>
                    </a:cxn>
                    <a:cxn ang="0">
                      <a:pos x="109" y="9"/>
                    </a:cxn>
                    <a:cxn ang="0">
                      <a:pos x="126" y="9"/>
                    </a:cxn>
                    <a:cxn ang="0">
                      <a:pos x="146" y="13"/>
                    </a:cxn>
                    <a:cxn ang="0">
                      <a:pos x="181" y="16"/>
                    </a:cxn>
                    <a:cxn ang="0">
                      <a:pos x="198" y="13"/>
                    </a:cxn>
                    <a:cxn ang="0">
                      <a:pos x="214" y="13"/>
                    </a:cxn>
                    <a:cxn ang="0">
                      <a:pos x="229" y="13"/>
                    </a:cxn>
                    <a:cxn ang="0">
                      <a:pos x="246" y="3"/>
                    </a:cxn>
                    <a:cxn ang="0">
                      <a:pos x="256" y="30"/>
                    </a:cxn>
                    <a:cxn ang="0">
                      <a:pos x="264" y="52"/>
                    </a:cxn>
                    <a:cxn ang="0">
                      <a:pos x="271" y="59"/>
                    </a:cxn>
                    <a:cxn ang="0">
                      <a:pos x="274" y="68"/>
                    </a:cxn>
                    <a:cxn ang="0">
                      <a:pos x="282" y="78"/>
                    </a:cxn>
                    <a:cxn ang="0">
                      <a:pos x="303" y="71"/>
                    </a:cxn>
                    <a:cxn ang="0">
                      <a:pos x="326" y="70"/>
                    </a:cxn>
                    <a:cxn ang="0">
                      <a:pos x="326" y="70"/>
                    </a:cxn>
                  </a:cxnLst>
                  <a:rect l="0" t="0" r="r" b="b"/>
                  <a:pathLst>
                    <a:path w="400" h="331">
                      <a:moveTo>
                        <a:pt x="326" y="70"/>
                      </a:moveTo>
                      <a:cubicBezTo>
                        <a:pt x="329" y="84"/>
                        <a:pt x="324" y="92"/>
                        <a:pt x="324" y="92"/>
                      </a:cubicBezTo>
                      <a:cubicBezTo>
                        <a:pt x="312" y="108"/>
                        <a:pt x="327" y="112"/>
                        <a:pt x="327" y="112"/>
                      </a:cubicBezTo>
                      <a:cubicBezTo>
                        <a:pt x="331" y="119"/>
                        <a:pt x="340" y="110"/>
                        <a:pt x="349" y="123"/>
                      </a:cubicBezTo>
                      <a:cubicBezTo>
                        <a:pt x="369" y="122"/>
                        <a:pt x="363" y="137"/>
                        <a:pt x="363" y="137"/>
                      </a:cubicBezTo>
                      <a:cubicBezTo>
                        <a:pt x="368" y="158"/>
                        <a:pt x="383" y="152"/>
                        <a:pt x="383" y="152"/>
                      </a:cubicBezTo>
                      <a:cubicBezTo>
                        <a:pt x="393" y="146"/>
                        <a:pt x="393" y="160"/>
                        <a:pt x="393" y="160"/>
                      </a:cubicBezTo>
                      <a:cubicBezTo>
                        <a:pt x="400" y="187"/>
                        <a:pt x="390" y="185"/>
                        <a:pt x="390" y="185"/>
                      </a:cubicBezTo>
                      <a:cubicBezTo>
                        <a:pt x="375" y="183"/>
                        <a:pt x="383" y="198"/>
                        <a:pt x="383" y="198"/>
                      </a:cubicBezTo>
                      <a:cubicBezTo>
                        <a:pt x="392" y="203"/>
                        <a:pt x="380" y="216"/>
                        <a:pt x="380" y="216"/>
                      </a:cubicBezTo>
                      <a:cubicBezTo>
                        <a:pt x="373" y="224"/>
                        <a:pt x="359" y="221"/>
                        <a:pt x="359" y="221"/>
                      </a:cubicBezTo>
                      <a:cubicBezTo>
                        <a:pt x="329" y="211"/>
                        <a:pt x="343" y="246"/>
                        <a:pt x="343" y="246"/>
                      </a:cubicBezTo>
                      <a:cubicBezTo>
                        <a:pt x="333" y="251"/>
                        <a:pt x="322" y="243"/>
                        <a:pt x="315" y="250"/>
                      </a:cubicBezTo>
                      <a:cubicBezTo>
                        <a:pt x="311" y="254"/>
                        <a:pt x="298" y="251"/>
                        <a:pt x="285" y="265"/>
                      </a:cubicBezTo>
                      <a:cubicBezTo>
                        <a:pt x="272" y="264"/>
                        <a:pt x="270" y="284"/>
                        <a:pt x="270" y="284"/>
                      </a:cubicBezTo>
                      <a:cubicBezTo>
                        <a:pt x="256" y="298"/>
                        <a:pt x="266" y="301"/>
                        <a:pt x="266" y="301"/>
                      </a:cubicBezTo>
                      <a:cubicBezTo>
                        <a:pt x="270" y="314"/>
                        <a:pt x="263" y="321"/>
                        <a:pt x="263" y="321"/>
                      </a:cubicBezTo>
                      <a:cubicBezTo>
                        <a:pt x="263" y="321"/>
                        <a:pt x="260" y="331"/>
                        <a:pt x="242" y="318"/>
                      </a:cubicBezTo>
                      <a:cubicBezTo>
                        <a:pt x="242" y="318"/>
                        <a:pt x="227" y="311"/>
                        <a:pt x="219" y="307"/>
                      </a:cubicBezTo>
                      <a:cubicBezTo>
                        <a:pt x="219" y="307"/>
                        <a:pt x="215" y="294"/>
                        <a:pt x="185" y="299"/>
                      </a:cubicBezTo>
                      <a:cubicBezTo>
                        <a:pt x="185" y="299"/>
                        <a:pt x="175" y="302"/>
                        <a:pt x="168" y="298"/>
                      </a:cubicBezTo>
                      <a:cubicBezTo>
                        <a:pt x="162" y="292"/>
                        <a:pt x="154" y="304"/>
                        <a:pt x="150" y="284"/>
                      </a:cubicBezTo>
                      <a:cubicBezTo>
                        <a:pt x="150" y="284"/>
                        <a:pt x="152" y="273"/>
                        <a:pt x="136" y="273"/>
                      </a:cubicBezTo>
                      <a:cubicBezTo>
                        <a:pt x="136" y="273"/>
                        <a:pt x="132" y="266"/>
                        <a:pt x="126" y="260"/>
                      </a:cubicBezTo>
                      <a:cubicBezTo>
                        <a:pt x="126" y="260"/>
                        <a:pt x="120" y="250"/>
                        <a:pt x="96" y="249"/>
                      </a:cubicBezTo>
                      <a:cubicBezTo>
                        <a:pt x="96" y="249"/>
                        <a:pt x="92" y="242"/>
                        <a:pt x="84" y="240"/>
                      </a:cubicBezTo>
                      <a:cubicBezTo>
                        <a:pt x="84" y="240"/>
                        <a:pt x="85" y="222"/>
                        <a:pt x="75" y="210"/>
                      </a:cubicBezTo>
                      <a:cubicBezTo>
                        <a:pt x="75" y="210"/>
                        <a:pt x="65" y="199"/>
                        <a:pt x="74" y="188"/>
                      </a:cubicBezTo>
                      <a:cubicBezTo>
                        <a:pt x="74" y="188"/>
                        <a:pt x="87" y="187"/>
                        <a:pt x="73" y="174"/>
                      </a:cubicBezTo>
                      <a:cubicBezTo>
                        <a:pt x="73" y="174"/>
                        <a:pt x="75" y="164"/>
                        <a:pt x="58" y="161"/>
                      </a:cubicBezTo>
                      <a:cubicBezTo>
                        <a:pt x="58" y="161"/>
                        <a:pt x="58" y="149"/>
                        <a:pt x="43" y="143"/>
                      </a:cubicBezTo>
                      <a:cubicBezTo>
                        <a:pt x="43" y="143"/>
                        <a:pt x="23" y="130"/>
                        <a:pt x="36" y="128"/>
                      </a:cubicBezTo>
                      <a:cubicBezTo>
                        <a:pt x="36" y="128"/>
                        <a:pt x="40" y="115"/>
                        <a:pt x="34" y="110"/>
                      </a:cubicBezTo>
                      <a:cubicBezTo>
                        <a:pt x="34" y="110"/>
                        <a:pt x="32" y="99"/>
                        <a:pt x="24" y="99"/>
                      </a:cubicBezTo>
                      <a:cubicBezTo>
                        <a:pt x="24" y="99"/>
                        <a:pt x="15" y="101"/>
                        <a:pt x="15" y="79"/>
                      </a:cubicBezTo>
                      <a:cubicBezTo>
                        <a:pt x="15" y="79"/>
                        <a:pt x="0" y="78"/>
                        <a:pt x="0" y="63"/>
                      </a:cubicBezTo>
                      <a:cubicBezTo>
                        <a:pt x="0" y="63"/>
                        <a:pt x="5" y="58"/>
                        <a:pt x="3" y="46"/>
                      </a:cubicBezTo>
                      <a:cubicBezTo>
                        <a:pt x="3" y="46"/>
                        <a:pt x="14" y="51"/>
                        <a:pt x="22" y="38"/>
                      </a:cubicBezTo>
                      <a:cubicBezTo>
                        <a:pt x="22" y="38"/>
                        <a:pt x="34" y="28"/>
                        <a:pt x="44" y="38"/>
                      </a:cubicBezTo>
                      <a:cubicBezTo>
                        <a:pt x="44" y="38"/>
                        <a:pt x="54" y="47"/>
                        <a:pt x="76" y="38"/>
                      </a:cubicBezTo>
                      <a:cubicBezTo>
                        <a:pt x="76" y="38"/>
                        <a:pt x="87" y="41"/>
                        <a:pt x="96" y="27"/>
                      </a:cubicBezTo>
                      <a:cubicBezTo>
                        <a:pt x="96" y="27"/>
                        <a:pt x="109" y="17"/>
                        <a:pt x="109" y="9"/>
                      </a:cubicBezTo>
                      <a:cubicBezTo>
                        <a:pt x="123" y="16"/>
                        <a:pt x="126" y="9"/>
                        <a:pt x="126" y="9"/>
                      </a:cubicBezTo>
                      <a:cubicBezTo>
                        <a:pt x="132" y="2"/>
                        <a:pt x="146" y="13"/>
                        <a:pt x="146" y="13"/>
                      </a:cubicBezTo>
                      <a:cubicBezTo>
                        <a:pt x="150" y="16"/>
                        <a:pt x="175" y="12"/>
                        <a:pt x="181" y="16"/>
                      </a:cubicBezTo>
                      <a:cubicBezTo>
                        <a:pt x="198" y="20"/>
                        <a:pt x="198" y="13"/>
                        <a:pt x="198" y="13"/>
                      </a:cubicBezTo>
                      <a:cubicBezTo>
                        <a:pt x="206" y="0"/>
                        <a:pt x="214" y="13"/>
                        <a:pt x="214" y="13"/>
                      </a:cubicBezTo>
                      <a:cubicBezTo>
                        <a:pt x="224" y="22"/>
                        <a:pt x="229" y="13"/>
                        <a:pt x="229" y="13"/>
                      </a:cubicBezTo>
                      <a:cubicBezTo>
                        <a:pt x="230" y="2"/>
                        <a:pt x="246" y="3"/>
                        <a:pt x="246" y="3"/>
                      </a:cubicBezTo>
                      <a:cubicBezTo>
                        <a:pt x="245" y="27"/>
                        <a:pt x="256" y="30"/>
                        <a:pt x="256" y="30"/>
                      </a:cubicBezTo>
                      <a:cubicBezTo>
                        <a:pt x="263" y="38"/>
                        <a:pt x="264" y="52"/>
                        <a:pt x="264" y="52"/>
                      </a:cubicBezTo>
                      <a:cubicBezTo>
                        <a:pt x="271" y="49"/>
                        <a:pt x="271" y="59"/>
                        <a:pt x="271" y="59"/>
                      </a:cubicBezTo>
                      <a:cubicBezTo>
                        <a:pt x="284" y="64"/>
                        <a:pt x="274" y="68"/>
                        <a:pt x="274" y="68"/>
                      </a:cubicBezTo>
                      <a:cubicBezTo>
                        <a:pt x="269" y="79"/>
                        <a:pt x="282" y="78"/>
                        <a:pt x="282" y="78"/>
                      </a:cubicBezTo>
                      <a:cubicBezTo>
                        <a:pt x="296" y="80"/>
                        <a:pt x="303" y="71"/>
                        <a:pt x="303" y="71"/>
                      </a:cubicBezTo>
                      <a:cubicBezTo>
                        <a:pt x="315" y="64"/>
                        <a:pt x="326" y="70"/>
                        <a:pt x="326" y="70"/>
                      </a:cubicBezTo>
                      <a:cubicBezTo>
                        <a:pt x="326" y="70"/>
                        <a:pt x="326" y="70"/>
                        <a:pt x="326" y="70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1" name="Freeform 45"/>
                <p:cNvSpPr>
                  <a:spLocks/>
                </p:cNvSpPr>
                <p:nvPr/>
              </p:nvSpPr>
              <p:spPr bwMode="auto">
                <a:xfrm>
                  <a:off x="4581265" y="2977355"/>
                  <a:ext cx="1090231" cy="921620"/>
                </a:xfrm>
                <a:custGeom>
                  <a:avLst/>
                  <a:gdLst/>
                  <a:ahLst/>
                  <a:cxnLst>
                    <a:cxn ang="0">
                      <a:pos x="102" y="33"/>
                    </a:cxn>
                    <a:cxn ang="0">
                      <a:pos x="79" y="45"/>
                    </a:cxn>
                    <a:cxn ang="0">
                      <a:pos x="51" y="61"/>
                    </a:cxn>
                    <a:cxn ang="0">
                      <a:pos x="32" y="69"/>
                    </a:cxn>
                    <a:cxn ang="0">
                      <a:pos x="14" y="77"/>
                    </a:cxn>
                    <a:cxn ang="0">
                      <a:pos x="12" y="100"/>
                    </a:cxn>
                    <a:cxn ang="0">
                      <a:pos x="15" y="120"/>
                    </a:cxn>
                    <a:cxn ang="0">
                      <a:pos x="37" y="131"/>
                    </a:cxn>
                    <a:cxn ang="0">
                      <a:pos x="51" y="145"/>
                    </a:cxn>
                    <a:cxn ang="0">
                      <a:pos x="71" y="160"/>
                    </a:cxn>
                    <a:cxn ang="0">
                      <a:pos x="81" y="168"/>
                    </a:cxn>
                    <a:cxn ang="0">
                      <a:pos x="78" y="193"/>
                    </a:cxn>
                    <a:cxn ang="0">
                      <a:pos x="71" y="206"/>
                    </a:cxn>
                    <a:cxn ang="0">
                      <a:pos x="68" y="224"/>
                    </a:cxn>
                    <a:cxn ang="0">
                      <a:pos x="47" y="229"/>
                    </a:cxn>
                    <a:cxn ang="0">
                      <a:pos x="31" y="254"/>
                    </a:cxn>
                    <a:cxn ang="0">
                      <a:pos x="64" y="265"/>
                    </a:cxn>
                    <a:cxn ang="0">
                      <a:pos x="102" y="287"/>
                    </a:cxn>
                    <a:cxn ang="0">
                      <a:pos x="132" y="287"/>
                    </a:cxn>
                    <a:cxn ang="0">
                      <a:pos x="157" y="303"/>
                    </a:cxn>
                    <a:cxn ang="0">
                      <a:pos x="175" y="321"/>
                    </a:cxn>
                    <a:cxn ang="0">
                      <a:pos x="185" y="333"/>
                    </a:cxn>
                    <a:cxn ang="0">
                      <a:pos x="195" y="349"/>
                    </a:cxn>
                    <a:cxn ang="0">
                      <a:pos x="208" y="349"/>
                    </a:cxn>
                    <a:cxn ang="0">
                      <a:pos x="228" y="339"/>
                    </a:cxn>
                    <a:cxn ang="0">
                      <a:pos x="245" y="338"/>
                    </a:cxn>
                    <a:cxn ang="0">
                      <a:pos x="241" y="316"/>
                    </a:cxn>
                    <a:cxn ang="0">
                      <a:pos x="254" y="310"/>
                    </a:cxn>
                    <a:cxn ang="0">
                      <a:pos x="263" y="303"/>
                    </a:cxn>
                    <a:cxn ang="0">
                      <a:pos x="278" y="309"/>
                    </a:cxn>
                    <a:cxn ang="0">
                      <a:pos x="284" y="298"/>
                    </a:cxn>
                    <a:cxn ang="0">
                      <a:pos x="296" y="299"/>
                    </a:cxn>
                    <a:cxn ang="0">
                      <a:pos x="304" y="282"/>
                    </a:cxn>
                    <a:cxn ang="0">
                      <a:pos x="310" y="267"/>
                    </a:cxn>
                    <a:cxn ang="0">
                      <a:pos x="328" y="245"/>
                    </a:cxn>
                    <a:cxn ang="0">
                      <a:pos x="343" y="231"/>
                    </a:cxn>
                    <a:cxn ang="0">
                      <a:pos x="332" y="226"/>
                    </a:cxn>
                    <a:cxn ang="0">
                      <a:pos x="348" y="221"/>
                    </a:cxn>
                    <a:cxn ang="0">
                      <a:pos x="371" y="218"/>
                    </a:cxn>
                    <a:cxn ang="0">
                      <a:pos x="373" y="200"/>
                    </a:cxn>
                    <a:cxn ang="0">
                      <a:pos x="373" y="169"/>
                    </a:cxn>
                    <a:cxn ang="0">
                      <a:pos x="376" y="153"/>
                    </a:cxn>
                    <a:cxn ang="0">
                      <a:pos x="380" y="134"/>
                    </a:cxn>
                    <a:cxn ang="0">
                      <a:pos x="377" y="120"/>
                    </a:cxn>
                    <a:cxn ang="0">
                      <a:pos x="384" y="103"/>
                    </a:cxn>
                    <a:cxn ang="0">
                      <a:pos x="381" y="87"/>
                    </a:cxn>
                    <a:cxn ang="0">
                      <a:pos x="374" y="80"/>
                    </a:cxn>
                    <a:cxn ang="0">
                      <a:pos x="346" y="65"/>
                    </a:cxn>
                    <a:cxn ang="0">
                      <a:pos x="328" y="41"/>
                    </a:cxn>
                    <a:cxn ang="0">
                      <a:pos x="318" y="21"/>
                    </a:cxn>
                    <a:cxn ang="0">
                      <a:pos x="308" y="8"/>
                    </a:cxn>
                    <a:cxn ang="0">
                      <a:pos x="292" y="3"/>
                    </a:cxn>
                    <a:cxn ang="0">
                      <a:pos x="259" y="22"/>
                    </a:cxn>
                    <a:cxn ang="0">
                      <a:pos x="230" y="35"/>
                    </a:cxn>
                    <a:cxn ang="0">
                      <a:pos x="219" y="45"/>
                    </a:cxn>
                    <a:cxn ang="0">
                      <a:pos x="203" y="45"/>
                    </a:cxn>
                    <a:cxn ang="0">
                      <a:pos x="184" y="39"/>
                    </a:cxn>
                    <a:cxn ang="0">
                      <a:pos x="166" y="30"/>
                    </a:cxn>
                    <a:cxn ang="0">
                      <a:pos x="141" y="14"/>
                    </a:cxn>
                    <a:cxn ang="0">
                      <a:pos x="112" y="25"/>
                    </a:cxn>
                    <a:cxn ang="0">
                      <a:pos x="102" y="33"/>
                    </a:cxn>
                    <a:cxn ang="0">
                      <a:pos x="102" y="33"/>
                    </a:cxn>
                  </a:cxnLst>
                  <a:rect l="0" t="0" r="r" b="b"/>
                  <a:pathLst>
                    <a:path w="385" h="369">
                      <a:moveTo>
                        <a:pt x="102" y="33"/>
                      </a:moveTo>
                      <a:cubicBezTo>
                        <a:pt x="102" y="47"/>
                        <a:pt x="83" y="39"/>
                        <a:pt x="79" y="45"/>
                      </a:cubicBezTo>
                      <a:cubicBezTo>
                        <a:pt x="75" y="39"/>
                        <a:pt x="54" y="46"/>
                        <a:pt x="51" y="61"/>
                      </a:cubicBezTo>
                      <a:cubicBezTo>
                        <a:pt x="51" y="61"/>
                        <a:pt x="37" y="57"/>
                        <a:pt x="32" y="69"/>
                      </a:cubicBezTo>
                      <a:cubicBezTo>
                        <a:pt x="32" y="69"/>
                        <a:pt x="21" y="68"/>
                        <a:pt x="14" y="77"/>
                      </a:cubicBezTo>
                      <a:cubicBezTo>
                        <a:pt x="17" y="91"/>
                        <a:pt x="12" y="100"/>
                        <a:pt x="12" y="100"/>
                      </a:cubicBezTo>
                      <a:cubicBezTo>
                        <a:pt x="0" y="116"/>
                        <a:pt x="15" y="120"/>
                        <a:pt x="15" y="120"/>
                      </a:cubicBezTo>
                      <a:cubicBezTo>
                        <a:pt x="19" y="127"/>
                        <a:pt x="28" y="118"/>
                        <a:pt x="37" y="131"/>
                      </a:cubicBezTo>
                      <a:cubicBezTo>
                        <a:pt x="57" y="130"/>
                        <a:pt x="51" y="145"/>
                        <a:pt x="51" y="145"/>
                      </a:cubicBezTo>
                      <a:cubicBezTo>
                        <a:pt x="56" y="166"/>
                        <a:pt x="71" y="160"/>
                        <a:pt x="71" y="160"/>
                      </a:cubicBezTo>
                      <a:cubicBezTo>
                        <a:pt x="81" y="154"/>
                        <a:pt x="81" y="168"/>
                        <a:pt x="81" y="168"/>
                      </a:cubicBezTo>
                      <a:cubicBezTo>
                        <a:pt x="88" y="195"/>
                        <a:pt x="78" y="193"/>
                        <a:pt x="78" y="193"/>
                      </a:cubicBezTo>
                      <a:cubicBezTo>
                        <a:pt x="63" y="191"/>
                        <a:pt x="71" y="206"/>
                        <a:pt x="71" y="206"/>
                      </a:cubicBezTo>
                      <a:cubicBezTo>
                        <a:pt x="80" y="211"/>
                        <a:pt x="68" y="224"/>
                        <a:pt x="68" y="224"/>
                      </a:cubicBezTo>
                      <a:cubicBezTo>
                        <a:pt x="61" y="232"/>
                        <a:pt x="47" y="229"/>
                        <a:pt x="47" y="229"/>
                      </a:cubicBezTo>
                      <a:cubicBezTo>
                        <a:pt x="17" y="219"/>
                        <a:pt x="31" y="254"/>
                        <a:pt x="31" y="254"/>
                      </a:cubicBezTo>
                      <a:cubicBezTo>
                        <a:pt x="33" y="259"/>
                        <a:pt x="54" y="250"/>
                        <a:pt x="64" y="265"/>
                      </a:cubicBezTo>
                      <a:cubicBezTo>
                        <a:pt x="82" y="281"/>
                        <a:pt x="90" y="290"/>
                        <a:pt x="102" y="287"/>
                      </a:cubicBezTo>
                      <a:cubicBezTo>
                        <a:pt x="116" y="289"/>
                        <a:pt x="132" y="287"/>
                        <a:pt x="132" y="287"/>
                      </a:cubicBezTo>
                      <a:cubicBezTo>
                        <a:pt x="159" y="271"/>
                        <a:pt x="157" y="303"/>
                        <a:pt x="157" y="303"/>
                      </a:cubicBezTo>
                      <a:cubicBezTo>
                        <a:pt x="180" y="313"/>
                        <a:pt x="175" y="321"/>
                        <a:pt x="175" y="321"/>
                      </a:cubicBezTo>
                      <a:cubicBezTo>
                        <a:pt x="178" y="332"/>
                        <a:pt x="185" y="333"/>
                        <a:pt x="185" y="333"/>
                      </a:cubicBezTo>
                      <a:cubicBezTo>
                        <a:pt x="197" y="338"/>
                        <a:pt x="195" y="349"/>
                        <a:pt x="195" y="349"/>
                      </a:cubicBezTo>
                      <a:cubicBezTo>
                        <a:pt x="197" y="369"/>
                        <a:pt x="208" y="349"/>
                        <a:pt x="208" y="349"/>
                      </a:cubicBezTo>
                      <a:cubicBezTo>
                        <a:pt x="215" y="330"/>
                        <a:pt x="228" y="339"/>
                        <a:pt x="228" y="339"/>
                      </a:cubicBezTo>
                      <a:cubicBezTo>
                        <a:pt x="230" y="348"/>
                        <a:pt x="245" y="338"/>
                        <a:pt x="245" y="338"/>
                      </a:cubicBezTo>
                      <a:cubicBezTo>
                        <a:pt x="248" y="321"/>
                        <a:pt x="240" y="325"/>
                        <a:pt x="241" y="316"/>
                      </a:cubicBezTo>
                      <a:cubicBezTo>
                        <a:pt x="241" y="316"/>
                        <a:pt x="239" y="303"/>
                        <a:pt x="254" y="310"/>
                      </a:cubicBezTo>
                      <a:cubicBezTo>
                        <a:pt x="259" y="313"/>
                        <a:pt x="260" y="304"/>
                        <a:pt x="263" y="303"/>
                      </a:cubicBezTo>
                      <a:cubicBezTo>
                        <a:pt x="263" y="303"/>
                        <a:pt x="270" y="309"/>
                        <a:pt x="278" y="309"/>
                      </a:cubicBezTo>
                      <a:cubicBezTo>
                        <a:pt x="278" y="309"/>
                        <a:pt x="273" y="303"/>
                        <a:pt x="284" y="298"/>
                      </a:cubicBezTo>
                      <a:cubicBezTo>
                        <a:pt x="284" y="298"/>
                        <a:pt x="290" y="292"/>
                        <a:pt x="296" y="299"/>
                      </a:cubicBezTo>
                      <a:cubicBezTo>
                        <a:pt x="296" y="299"/>
                        <a:pt x="291" y="288"/>
                        <a:pt x="304" y="282"/>
                      </a:cubicBezTo>
                      <a:cubicBezTo>
                        <a:pt x="304" y="282"/>
                        <a:pt x="316" y="278"/>
                        <a:pt x="310" y="267"/>
                      </a:cubicBezTo>
                      <a:cubicBezTo>
                        <a:pt x="310" y="267"/>
                        <a:pt x="310" y="259"/>
                        <a:pt x="328" y="245"/>
                      </a:cubicBezTo>
                      <a:cubicBezTo>
                        <a:pt x="328" y="245"/>
                        <a:pt x="343" y="240"/>
                        <a:pt x="343" y="231"/>
                      </a:cubicBezTo>
                      <a:cubicBezTo>
                        <a:pt x="343" y="224"/>
                        <a:pt x="329" y="232"/>
                        <a:pt x="332" y="226"/>
                      </a:cubicBezTo>
                      <a:cubicBezTo>
                        <a:pt x="332" y="226"/>
                        <a:pt x="337" y="212"/>
                        <a:pt x="348" y="221"/>
                      </a:cubicBezTo>
                      <a:cubicBezTo>
                        <a:pt x="348" y="221"/>
                        <a:pt x="364" y="223"/>
                        <a:pt x="371" y="218"/>
                      </a:cubicBezTo>
                      <a:cubicBezTo>
                        <a:pt x="371" y="218"/>
                        <a:pt x="383" y="203"/>
                        <a:pt x="373" y="200"/>
                      </a:cubicBezTo>
                      <a:cubicBezTo>
                        <a:pt x="373" y="200"/>
                        <a:pt x="368" y="193"/>
                        <a:pt x="373" y="169"/>
                      </a:cubicBezTo>
                      <a:cubicBezTo>
                        <a:pt x="373" y="169"/>
                        <a:pt x="382" y="163"/>
                        <a:pt x="376" y="153"/>
                      </a:cubicBezTo>
                      <a:cubicBezTo>
                        <a:pt x="369" y="142"/>
                        <a:pt x="385" y="141"/>
                        <a:pt x="380" y="134"/>
                      </a:cubicBezTo>
                      <a:cubicBezTo>
                        <a:pt x="380" y="134"/>
                        <a:pt x="373" y="128"/>
                        <a:pt x="377" y="120"/>
                      </a:cubicBezTo>
                      <a:cubicBezTo>
                        <a:pt x="381" y="118"/>
                        <a:pt x="376" y="110"/>
                        <a:pt x="384" y="103"/>
                      </a:cubicBezTo>
                      <a:cubicBezTo>
                        <a:pt x="384" y="103"/>
                        <a:pt x="376" y="96"/>
                        <a:pt x="381" y="87"/>
                      </a:cubicBezTo>
                      <a:cubicBezTo>
                        <a:pt x="376" y="87"/>
                        <a:pt x="374" y="80"/>
                        <a:pt x="374" y="80"/>
                      </a:cubicBezTo>
                      <a:cubicBezTo>
                        <a:pt x="363" y="63"/>
                        <a:pt x="346" y="65"/>
                        <a:pt x="346" y="65"/>
                      </a:cubicBezTo>
                      <a:cubicBezTo>
                        <a:pt x="336" y="46"/>
                        <a:pt x="328" y="41"/>
                        <a:pt x="328" y="41"/>
                      </a:cubicBezTo>
                      <a:cubicBezTo>
                        <a:pt x="330" y="17"/>
                        <a:pt x="318" y="21"/>
                        <a:pt x="318" y="21"/>
                      </a:cubicBezTo>
                      <a:cubicBezTo>
                        <a:pt x="307" y="17"/>
                        <a:pt x="308" y="8"/>
                        <a:pt x="308" y="8"/>
                      </a:cubicBezTo>
                      <a:cubicBezTo>
                        <a:pt x="307" y="0"/>
                        <a:pt x="292" y="3"/>
                        <a:pt x="292" y="3"/>
                      </a:cubicBezTo>
                      <a:cubicBezTo>
                        <a:pt x="270" y="28"/>
                        <a:pt x="259" y="22"/>
                        <a:pt x="259" y="22"/>
                      </a:cubicBezTo>
                      <a:cubicBezTo>
                        <a:pt x="241" y="19"/>
                        <a:pt x="230" y="35"/>
                        <a:pt x="230" y="35"/>
                      </a:cubicBezTo>
                      <a:cubicBezTo>
                        <a:pt x="216" y="39"/>
                        <a:pt x="219" y="45"/>
                        <a:pt x="219" y="45"/>
                      </a:cubicBezTo>
                      <a:cubicBezTo>
                        <a:pt x="208" y="57"/>
                        <a:pt x="203" y="45"/>
                        <a:pt x="203" y="45"/>
                      </a:cubicBezTo>
                      <a:cubicBezTo>
                        <a:pt x="192" y="24"/>
                        <a:pt x="184" y="39"/>
                        <a:pt x="184" y="39"/>
                      </a:cubicBezTo>
                      <a:cubicBezTo>
                        <a:pt x="173" y="46"/>
                        <a:pt x="166" y="30"/>
                        <a:pt x="166" y="30"/>
                      </a:cubicBezTo>
                      <a:cubicBezTo>
                        <a:pt x="157" y="10"/>
                        <a:pt x="141" y="14"/>
                        <a:pt x="141" y="14"/>
                      </a:cubicBezTo>
                      <a:cubicBezTo>
                        <a:pt x="118" y="12"/>
                        <a:pt x="112" y="25"/>
                        <a:pt x="112" y="25"/>
                      </a:cubicBezTo>
                      <a:cubicBezTo>
                        <a:pt x="109" y="32"/>
                        <a:pt x="105" y="33"/>
                        <a:pt x="102" y="33"/>
                      </a:cubicBezTo>
                      <a:cubicBezTo>
                        <a:pt x="102" y="33"/>
                        <a:pt x="102" y="33"/>
                        <a:pt x="102" y="33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2" name="Freeform 44"/>
                <p:cNvSpPr>
                  <a:spLocks/>
                </p:cNvSpPr>
                <p:nvPr/>
              </p:nvSpPr>
              <p:spPr bwMode="auto">
                <a:xfrm>
                  <a:off x="5623858" y="3119556"/>
                  <a:ext cx="818013" cy="973938"/>
                </a:xfrm>
                <a:custGeom>
                  <a:avLst/>
                  <a:gdLst/>
                  <a:ahLst/>
                  <a:cxnLst>
                    <a:cxn ang="0">
                      <a:pos x="4" y="161"/>
                    </a:cxn>
                    <a:cxn ang="0">
                      <a:pos x="5" y="143"/>
                    </a:cxn>
                    <a:cxn ang="0">
                      <a:pos x="5" y="112"/>
                    </a:cxn>
                    <a:cxn ang="0">
                      <a:pos x="8" y="96"/>
                    </a:cxn>
                    <a:cxn ang="0">
                      <a:pos x="12" y="77"/>
                    </a:cxn>
                    <a:cxn ang="0">
                      <a:pos x="9" y="63"/>
                    </a:cxn>
                    <a:cxn ang="0">
                      <a:pos x="16" y="46"/>
                    </a:cxn>
                    <a:cxn ang="0">
                      <a:pos x="13" y="30"/>
                    </a:cxn>
                    <a:cxn ang="0">
                      <a:pos x="20" y="29"/>
                    </a:cxn>
                    <a:cxn ang="0">
                      <a:pos x="30" y="15"/>
                    </a:cxn>
                    <a:cxn ang="0">
                      <a:pos x="38" y="2"/>
                    </a:cxn>
                    <a:cxn ang="0">
                      <a:pos x="56" y="15"/>
                    </a:cxn>
                    <a:cxn ang="0">
                      <a:pos x="73" y="17"/>
                    </a:cxn>
                    <a:cxn ang="0">
                      <a:pos x="96" y="26"/>
                    </a:cxn>
                    <a:cxn ang="0">
                      <a:pos x="115" y="33"/>
                    </a:cxn>
                    <a:cxn ang="0">
                      <a:pos x="137" y="33"/>
                    </a:cxn>
                    <a:cxn ang="0">
                      <a:pos x="155" y="36"/>
                    </a:cxn>
                    <a:cxn ang="0">
                      <a:pos x="176" y="45"/>
                    </a:cxn>
                    <a:cxn ang="0">
                      <a:pos x="192" y="46"/>
                    </a:cxn>
                    <a:cxn ang="0">
                      <a:pos x="201" y="56"/>
                    </a:cxn>
                    <a:cxn ang="0">
                      <a:pos x="221" y="67"/>
                    </a:cxn>
                    <a:cxn ang="0">
                      <a:pos x="242" y="68"/>
                    </a:cxn>
                    <a:cxn ang="0">
                      <a:pos x="260" y="58"/>
                    </a:cxn>
                    <a:cxn ang="0">
                      <a:pos x="261" y="72"/>
                    </a:cxn>
                    <a:cxn ang="0">
                      <a:pos x="265" y="98"/>
                    </a:cxn>
                    <a:cxn ang="0">
                      <a:pos x="258" y="146"/>
                    </a:cxn>
                    <a:cxn ang="0">
                      <a:pos x="235" y="165"/>
                    </a:cxn>
                    <a:cxn ang="0">
                      <a:pos x="232" y="183"/>
                    </a:cxn>
                    <a:cxn ang="0">
                      <a:pos x="251" y="191"/>
                    </a:cxn>
                    <a:cxn ang="0">
                      <a:pos x="262" y="195"/>
                    </a:cxn>
                    <a:cxn ang="0">
                      <a:pos x="269" y="202"/>
                    </a:cxn>
                    <a:cxn ang="0">
                      <a:pos x="254" y="205"/>
                    </a:cxn>
                    <a:cxn ang="0">
                      <a:pos x="236" y="213"/>
                    </a:cxn>
                    <a:cxn ang="0">
                      <a:pos x="232" y="238"/>
                    </a:cxn>
                    <a:cxn ang="0">
                      <a:pos x="243" y="249"/>
                    </a:cxn>
                    <a:cxn ang="0">
                      <a:pos x="259" y="268"/>
                    </a:cxn>
                    <a:cxn ang="0">
                      <a:pos x="265" y="290"/>
                    </a:cxn>
                    <a:cxn ang="0">
                      <a:pos x="269" y="297"/>
                    </a:cxn>
                    <a:cxn ang="0">
                      <a:pos x="269" y="319"/>
                    </a:cxn>
                    <a:cxn ang="0">
                      <a:pos x="262" y="364"/>
                    </a:cxn>
                    <a:cxn ang="0">
                      <a:pos x="247" y="386"/>
                    </a:cxn>
                    <a:cxn ang="0">
                      <a:pos x="194" y="389"/>
                    </a:cxn>
                    <a:cxn ang="0">
                      <a:pos x="170" y="390"/>
                    </a:cxn>
                    <a:cxn ang="0">
                      <a:pos x="170" y="390"/>
                    </a:cxn>
                    <a:cxn ang="0">
                      <a:pos x="170" y="378"/>
                    </a:cxn>
                    <a:cxn ang="0">
                      <a:pos x="170" y="378"/>
                    </a:cxn>
                    <a:cxn ang="0">
                      <a:pos x="154" y="362"/>
                    </a:cxn>
                    <a:cxn ang="0">
                      <a:pos x="137" y="356"/>
                    </a:cxn>
                    <a:cxn ang="0">
                      <a:pos x="111" y="343"/>
                    </a:cxn>
                    <a:cxn ang="0">
                      <a:pos x="89" y="304"/>
                    </a:cxn>
                    <a:cxn ang="0">
                      <a:pos x="73" y="295"/>
                    </a:cxn>
                    <a:cxn ang="0">
                      <a:pos x="64" y="272"/>
                    </a:cxn>
                    <a:cxn ang="0">
                      <a:pos x="62" y="251"/>
                    </a:cxn>
                    <a:cxn ang="0">
                      <a:pos x="60" y="238"/>
                    </a:cxn>
                    <a:cxn ang="0">
                      <a:pos x="53" y="222"/>
                    </a:cxn>
                    <a:cxn ang="0">
                      <a:pos x="39" y="209"/>
                    </a:cxn>
                    <a:cxn ang="0">
                      <a:pos x="30" y="201"/>
                    </a:cxn>
                    <a:cxn ang="0">
                      <a:pos x="30" y="185"/>
                    </a:cxn>
                    <a:cxn ang="0">
                      <a:pos x="19" y="173"/>
                    </a:cxn>
                    <a:cxn ang="0">
                      <a:pos x="10" y="169"/>
                    </a:cxn>
                    <a:cxn ang="0">
                      <a:pos x="4" y="161"/>
                    </a:cxn>
                    <a:cxn ang="0">
                      <a:pos x="4" y="161"/>
                    </a:cxn>
                  </a:cxnLst>
                  <a:rect l="0" t="0" r="r" b="b"/>
                  <a:pathLst>
                    <a:path w="289" h="390">
                      <a:moveTo>
                        <a:pt x="4" y="161"/>
                      </a:moveTo>
                      <a:cubicBezTo>
                        <a:pt x="4" y="161"/>
                        <a:pt x="15" y="146"/>
                        <a:pt x="5" y="143"/>
                      </a:cubicBezTo>
                      <a:cubicBezTo>
                        <a:pt x="5" y="143"/>
                        <a:pt x="0" y="136"/>
                        <a:pt x="5" y="112"/>
                      </a:cubicBezTo>
                      <a:cubicBezTo>
                        <a:pt x="5" y="112"/>
                        <a:pt x="14" y="106"/>
                        <a:pt x="8" y="96"/>
                      </a:cubicBezTo>
                      <a:cubicBezTo>
                        <a:pt x="1" y="85"/>
                        <a:pt x="17" y="84"/>
                        <a:pt x="12" y="77"/>
                      </a:cubicBezTo>
                      <a:cubicBezTo>
                        <a:pt x="12" y="77"/>
                        <a:pt x="5" y="71"/>
                        <a:pt x="9" y="63"/>
                      </a:cubicBezTo>
                      <a:cubicBezTo>
                        <a:pt x="13" y="61"/>
                        <a:pt x="8" y="53"/>
                        <a:pt x="16" y="46"/>
                      </a:cubicBezTo>
                      <a:cubicBezTo>
                        <a:pt x="16" y="46"/>
                        <a:pt x="8" y="39"/>
                        <a:pt x="13" y="30"/>
                      </a:cubicBezTo>
                      <a:cubicBezTo>
                        <a:pt x="16" y="31"/>
                        <a:pt x="18" y="30"/>
                        <a:pt x="20" y="29"/>
                      </a:cubicBezTo>
                      <a:cubicBezTo>
                        <a:pt x="20" y="29"/>
                        <a:pt x="31" y="32"/>
                        <a:pt x="30" y="15"/>
                      </a:cubicBezTo>
                      <a:cubicBezTo>
                        <a:pt x="30" y="15"/>
                        <a:pt x="25" y="1"/>
                        <a:pt x="38" y="2"/>
                      </a:cubicBezTo>
                      <a:cubicBezTo>
                        <a:pt x="49" y="0"/>
                        <a:pt x="44" y="11"/>
                        <a:pt x="56" y="15"/>
                      </a:cubicBezTo>
                      <a:cubicBezTo>
                        <a:pt x="56" y="15"/>
                        <a:pt x="67" y="21"/>
                        <a:pt x="73" y="17"/>
                      </a:cubicBezTo>
                      <a:cubicBezTo>
                        <a:pt x="73" y="17"/>
                        <a:pt x="87" y="11"/>
                        <a:pt x="96" y="26"/>
                      </a:cubicBezTo>
                      <a:cubicBezTo>
                        <a:pt x="96" y="26"/>
                        <a:pt x="115" y="28"/>
                        <a:pt x="115" y="33"/>
                      </a:cubicBezTo>
                      <a:cubicBezTo>
                        <a:pt x="115" y="33"/>
                        <a:pt x="126" y="47"/>
                        <a:pt x="137" y="33"/>
                      </a:cubicBezTo>
                      <a:cubicBezTo>
                        <a:pt x="137" y="33"/>
                        <a:pt x="145" y="8"/>
                        <a:pt x="155" y="36"/>
                      </a:cubicBezTo>
                      <a:cubicBezTo>
                        <a:pt x="155" y="36"/>
                        <a:pt x="160" y="52"/>
                        <a:pt x="176" y="45"/>
                      </a:cubicBezTo>
                      <a:cubicBezTo>
                        <a:pt x="176" y="45"/>
                        <a:pt x="181" y="39"/>
                        <a:pt x="192" y="46"/>
                      </a:cubicBezTo>
                      <a:cubicBezTo>
                        <a:pt x="192" y="46"/>
                        <a:pt x="203" y="43"/>
                        <a:pt x="201" y="56"/>
                      </a:cubicBezTo>
                      <a:cubicBezTo>
                        <a:pt x="201" y="56"/>
                        <a:pt x="204" y="70"/>
                        <a:pt x="221" y="67"/>
                      </a:cubicBezTo>
                      <a:cubicBezTo>
                        <a:pt x="221" y="67"/>
                        <a:pt x="226" y="81"/>
                        <a:pt x="242" y="68"/>
                      </a:cubicBezTo>
                      <a:cubicBezTo>
                        <a:pt x="242" y="68"/>
                        <a:pt x="245" y="57"/>
                        <a:pt x="260" y="58"/>
                      </a:cubicBezTo>
                      <a:cubicBezTo>
                        <a:pt x="260" y="58"/>
                        <a:pt x="276" y="61"/>
                        <a:pt x="261" y="72"/>
                      </a:cubicBezTo>
                      <a:cubicBezTo>
                        <a:pt x="261" y="72"/>
                        <a:pt x="245" y="77"/>
                        <a:pt x="265" y="98"/>
                      </a:cubicBezTo>
                      <a:cubicBezTo>
                        <a:pt x="265" y="98"/>
                        <a:pt x="288" y="117"/>
                        <a:pt x="258" y="146"/>
                      </a:cubicBezTo>
                      <a:cubicBezTo>
                        <a:pt x="255" y="170"/>
                        <a:pt x="240" y="158"/>
                        <a:pt x="235" y="165"/>
                      </a:cubicBezTo>
                      <a:cubicBezTo>
                        <a:pt x="235" y="165"/>
                        <a:pt x="219" y="168"/>
                        <a:pt x="232" y="183"/>
                      </a:cubicBezTo>
                      <a:cubicBezTo>
                        <a:pt x="232" y="183"/>
                        <a:pt x="231" y="194"/>
                        <a:pt x="251" y="191"/>
                      </a:cubicBezTo>
                      <a:cubicBezTo>
                        <a:pt x="251" y="191"/>
                        <a:pt x="257" y="191"/>
                        <a:pt x="262" y="195"/>
                      </a:cubicBezTo>
                      <a:cubicBezTo>
                        <a:pt x="273" y="181"/>
                        <a:pt x="280" y="194"/>
                        <a:pt x="269" y="202"/>
                      </a:cubicBezTo>
                      <a:cubicBezTo>
                        <a:pt x="269" y="202"/>
                        <a:pt x="272" y="209"/>
                        <a:pt x="254" y="205"/>
                      </a:cubicBezTo>
                      <a:cubicBezTo>
                        <a:pt x="254" y="205"/>
                        <a:pt x="245" y="197"/>
                        <a:pt x="236" y="213"/>
                      </a:cubicBezTo>
                      <a:cubicBezTo>
                        <a:pt x="236" y="213"/>
                        <a:pt x="232" y="224"/>
                        <a:pt x="232" y="238"/>
                      </a:cubicBezTo>
                      <a:cubicBezTo>
                        <a:pt x="232" y="238"/>
                        <a:pt x="226" y="252"/>
                        <a:pt x="243" y="249"/>
                      </a:cubicBezTo>
                      <a:cubicBezTo>
                        <a:pt x="243" y="249"/>
                        <a:pt x="259" y="244"/>
                        <a:pt x="259" y="268"/>
                      </a:cubicBezTo>
                      <a:cubicBezTo>
                        <a:pt x="259" y="268"/>
                        <a:pt x="271" y="285"/>
                        <a:pt x="265" y="290"/>
                      </a:cubicBezTo>
                      <a:cubicBezTo>
                        <a:pt x="265" y="290"/>
                        <a:pt x="252" y="294"/>
                        <a:pt x="269" y="297"/>
                      </a:cubicBezTo>
                      <a:cubicBezTo>
                        <a:pt x="269" y="297"/>
                        <a:pt x="289" y="289"/>
                        <a:pt x="269" y="319"/>
                      </a:cubicBezTo>
                      <a:cubicBezTo>
                        <a:pt x="269" y="319"/>
                        <a:pt x="262" y="334"/>
                        <a:pt x="262" y="364"/>
                      </a:cubicBezTo>
                      <a:cubicBezTo>
                        <a:pt x="263" y="387"/>
                        <a:pt x="265" y="385"/>
                        <a:pt x="247" y="386"/>
                      </a:cubicBezTo>
                      <a:cubicBezTo>
                        <a:pt x="247" y="386"/>
                        <a:pt x="223" y="383"/>
                        <a:pt x="194" y="389"/>
                      </a:cubicBezTo>
                      <a:cubicBezTo>
                        <a:pt x="194" y="389"/>
                        <a:pt x="185" y="390"/>
                        <a:pt x="170" y="390"/>
                      </a:cubicBezTo>
                      <a:cubicBezTo>
                        <a:pt x="170" y="390"/>
                        <a:pt x="170" y="390"/>
                        <a:pt x="170" y="390"/>
                      </a:cubicBezTo>
                      <a:cubicBezTo>
                        <a:pt x="170" y="378"/>
                        <a:pt x="170" y="378"/>
                        <a:pt x="170" y="378"/>
                      </a:cubicBezTo>
                      <a:cubicBezTo>
                        <a:pt x="170" y="378"/>
                        <a:pt x="170" y="378"/>
                        <a:pt x="170" y="378"/>
                      </a:cubicBezTo>
                      <a:cubicBezTo>
                        <a:pt x="170" y="378"/>
                        <a:pt x="174" y="363"/>
                        <a:pt x="154" y="362"/>
                      </a:cubicBezTo>
                      <a:cubicBezTo>
                        <a:pt x="154" y="362"/>
                        <a:pt x="141" y="367"/>
                        <a:pt x="137" y="356"/>
                      </a:cubicBezTo>
                      <a:cubicBezTo>
                        <a:pt x="137" y="356"/>
                        <a:pt x="147" y="348"/>
                        <a:pt x="111" y="343"/>
                      </a:cubicBezTo>
                      <a:cubicBezTo>
                        <a:pt x="111" y="343"/>
                        <a:pt x="115" y="327"/>
                        <a:pt x="89" y="304"/>
                      </a:cubicBezTo>
                      <a:cubicBezTo>
                        <a:pt x="89" y="304"/>
                        <a:pt x="91" y="296"/>
                        <a:pt x="73" y="295"/>
                      </a:cubicBezTo>
                      <a:cubicBezTo>
                        <a:pt x="74" y="279"/>
                        <a:pt x="63" y="285"/>
                        <a:pt x="64" y="272"/>
                      </a:cubicBezTo>
                      <a:cubicBezTo>
                        <a:pt x="64" y="272"/>
                        <a:pt x="56" y="268"/>
                        <a:pt x="62" y="251"/>
                      </a:cubicBezTo>
                      <a:cubicBezTo>
                        <a:pt x="69" y="247"/>
                        <a:pt x="56" y="243"/>
                        <a:pt x="60" y="238"/>
                      </a:cubicBezTo>
                      <a:cubicBezTo>
                        <a:pt x="60" y="238"/>
                        <a:pt x="72" y="236"/>
                        <a:pt x="53" y="222"/>
                      </a:cubicBezTo>
                      <a:cubicBezTo>
                        <a:pt x="53" y="222"/>
                        <a:pt x="56" y="209"/>
                        <a:pt x="39" y="209"/>
                      </a:cubicBezTo>
                      <a:cubicBezTo>
                        <a:pt x="39" y="209"/>
                        <a:pt x="17" y="210"/>
                        <a:pt x="30" y="201"/>
                      </a:cubicBezTo>
                      <a:cubicBezTo>
                        <a:pt x="40" y="198"/>
                        <a:pt x="28" y="194"/>
                        <a:pt x="30" y="185"/>
                      </a:cubicBezTo>
                      <a:cubicBezTo>
                        <a:pt x="30" y="185"/>
                        <a:pt x="33" y="166"/>
                        <a:pt x="19" y="173"/>
                      </a:cubicBezTo>
                      <a:cubicBezTo>
                        <a:pt x="19" y="173"/>
                        <a:pt x="9" y="175"/>
                        <a:pt x="10" y="169"/>
                      </a:cubicBezTo>
                      <a:cubicBezTo>
                        <a:pt x="10" y="169"/>
                        <a:pt x="14" y="162"/>
                        <a:pt x="4" y="161"/>
                      </a:cubicBezTo>
                      <a:cubicBezTo>
                        <a:pt x="4" y="161"/>
                        <a:pt x="4" y="161"/>
                        <a:pt x="4" y="161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3" name="Freeform 42"/>
                <p:cNvSpPr>
                  <a:spLocks/>
                </p:cNvSpPr>
                <p:nvPr/>
              </p:nvSpPr>
              <p:spPr bwMode="auto">
                <a:xfrm>
                  <a:off x="4005526" y="3599817"/>
                  <a:ext cx="1370614" cy="800883"/>
                </a:xfrm>
                <a:custGeom>
                  <a:avLst/>
                  <a:gdLst/>
                  <a:ahLst/>
                  <a:cxnLst>
                    <a:cxn ang="0">
                      <a:pos x="429" y="234"/>
                    </a:cxn>
                    <a:cxn ang="0">
                      <a:pos x="404" y="236"/>
                    </a:cxn>
                    <a:cxn ang="0">
                      <a:pos x="382" y="229"/>
                    </a:cxn>
                    <a:cxn ang="0">
                      <a:pos x="374" y="196"/>
                    </a:cxn>
                    <a:cxn ang="0">
                      <a:pos x="354" y="196"/>
                    </a:cxn>
                    <a:cxn ang="0">
                      <a:pos x="317" y="192"/>
                    </a:cxn>
                    <a:cxn ang="0">
                      <a:pos x="272" y="192"/>
                    </a:cxn>
                    <a:cxn ang="0">
                      <a:pos x="262" y="192"/>
                    </a:cxn>
                    <a:cxn ang="0">
                      <a:pos x="229" y="206"/>
                    </a:cxn>
                    <a:cxn ang="0">
                      <a:pos x="238" y="224"/>
                    </a:cxn>
                    <a:cxn ang="0">
                      <a:pos x="239" y="247"/>
                    </a:cxn>
                    <a:cxn ang="0">
                      <a:pos x="242" y="287"/>
                    </a:cxn>
                    <a:cxn ang="0">
                      <a:pos x="220" y="298"/>
                    </a:cxn>
                    <a:cxn ang="0">
                      <a:pos x="175" y="309"/>
                    </a:cxn>
                    <a:cxn ang="0">
                      <a:pos x="136" y="314"/>
                    </a:cxn>
                    <a:cxn ang="0">
                      <a:pos x="110" y="313"/>
                    </a:cxn>
                    <a:cxn ang="0">
                      <a:pos x="66" y="308"/>
                    </a:cxn>
                    <a:cxn ang="0">
                      <a:pos x="46" y="309"/>
                    </a:cxn>
                    <a:cxn ang="0">
                      <a:pos x="20" y="302"/>
                    </a:cxn>
                    <a:cxn ang="0">
                      <a:pos x="14" y="275"/>
                    </a:cxn>
                    <a:cxn ang="0">
                      <a:pos x="12" y="239"/>
                    </a:cxn>
                    <a:cxn ang="0">
                      <a:pos x="35" y="207"/>
                    </a:cxn>
                    <a:cxn ang="0">
                      <a:pos x="66" y="162"/>
                    </a:cxn>
                    <a:cxn ang="0">
                      <a:pos x="69" y="121"/>
                    </a:cxn>
                    <a:cxn ang="0">
                      <a:pos x="86" y="115"/>
                    </a:cxn>
                    <a:cxn ang="0">
                      <a:pos x="99" y="100"/>
                    </a:cxn>
                    <a:cxn ang="0">
                      <a:pos x="80" y="79"/>
                    </a:cxn>
                    <a:cxn ang="0">
                      <a:pos x="100" y="82"/>
                    </a:cxn>
                    <a:cxn ang="0">
                      <a:pos x="110" y="65"/>
                    </a:cxn>
                    <a:cxn ang="0">
                      <a:pos x="154" y="79"/>
                    </a:cxn>
                    <a:cxn ang="0">
                      <a:pos x="161" y="42"/>
                    </a:cxn>
                    <a:cxn ang="0">
                      <a:pos x="206" y="8"/>
                    </a:cxn>
                    <a:cxn ang="0">
                      <a:pos x="267" y="15"/>
                    </a:cxn>
                    <a:cxn ang="0">
                      <a:pos x="335" y="37"/>
                    </a:cxn>
                    <a:cxn ang="0">
                      <a:pos x="378" y="71"/>
                    </a:cxn>
                    <a:cxn ang="0">
                      <a:pos x="398" y="99"/>
                    </a:cxn>
                    <a:cxn ang="0">
                      <a:pos x="431" y="89"/>
                    </a:cxn>
                    <a:cxn ang="0">
                      <a:pos x="455" y="97"/>
                    </a:cxn>
                    <a:cxn ang="0">
                      <a:pos x="473" y="97"/>
                    </a:cxn>
                    <a:cxn ang="0">
                      <a:pos x="469" y="142"/>
                    </a:cxn>
                    <a:cxn ang="0">
                      <a:pos x="477" y="167"/>
                    </a:cxn>
                    <a:cxn ang="0">
                      <a:pos x="463" y="192"/>
                    </a:cxn>
                    <a:cxn ang="0">
                      <a:pos x="443" y="206"/>
                    </a:cxn>
                    <a:cxn ang="0">
                      <a:pos x="444" y="233"/>
                    </a:cxn>
                  </a:cxnLst>
                  <a:rect l="0" t="0" r="r" b="b"/>
                  <a:pathLst>
                    <a:path w="484" h="320">
                      <a:moveTo>
                        <a:pt x="444" y="233"/>
                      </a:moveTo>
                      <a:cubicBezTo>
                        <a:pt x="433" y="228"/>
                        <a:pt x="429" y="234"/>
                        <a:pt x="429" y="234"/>
                      </a:cubicBezTo>
                      <a:cubicBezTo>
                        <a:pt x="425" y="239"/>
                        <a:pt x="417" y="233"/>
                        <a:pt x="417" y="233"/>
                      </a:cubicBezTo>
                      <a:cubicBezTo>
                        <a:pt x="405" y="243"/>
                        <a:pt x="404" y="236"/>
                        <a:pt x="404" y="236"/>
                      </a:cubicBezTo>
                      <a:cubicBezTo>
                        <a:pt x="395" y="226"/>
                        <a:pt x="393" y="233"/>
                        <a:pt x="393" y="233"/>
                      </a:cubicBezTo>
                      <a:cubicBezTo>
                        <a:pt x="382" y="238"/>
                        <a:pt x="382" y="229"/>
                        <a:pt x="382" y="229"/>
                      </a:cubicBezTo>
                      <a:cubicBezTo>
                        <a:pt x="396" y="219"/>
                        <a:pt x="379" y="215"/>
                        <a:pt x="379" y="215"/>
                      </a:cubicBezTo>
                      <a:cubicBezTo>
                        <a:pt x="370" y="203"/>
                        <a:pt x="374" y="196"/>
                        <a:pt x="374" y="196"/>
                      </a:cubicBezTo>
                      <a:cubicBezTo>
                        <a:pt x="369" y="205"/>
                        <a:pt x="366" y="199"/>
                        <a:pt x="366" y="199"/>
                      </a:cubicBezTo>
                      <a:cubicBezTo>
                        <a:pt x="365" y="186"/>
                        <a:pt x="354" y="196"/>
                        <a:pt x="354" y="196"/>
                      </a:cubicBezTo>
                      <a:cubicBezTo>
                        <a:pt x="343" y="196"/>
                        <a:pt x="337" y="190"/>
                        <a:pt x="337" y="190"/>
                      </a:cubicBezTo>
                      <a:cubicBezTo>
                        <a:pt x="327" y="181"/>
                        <a:pt x="317" y="192"/>
                        <a:pt x="317" y="192"/>
                      </a:cubicBezTo>
                      <a:cubicBezTo>
                        <a:pt x="306" y="199"/>
                        <a:pt x="297" y="192"/>
                        <a:pt x="297" y="192"/>
                      </a:cubicBezTo>
                      <a:cubicBezTo>
                        <a:pt x="279" y="188"/>
                        <a:pt x="272" y="192"/>
                        <a:pt x="272" y="192"/>
                      </a:cubicBezTo>
                      <a:cubicBezTo>
                        <a:pt x="270" y="193"/>
                        <a:pt x="269" y="192"/>
                        <a:pt x="267" y="191"/>
                      </a:cubicBezTo>
                      <a:cubicBezTo>
                        <a:pt x="265" y="190"/>
                        <a:pt x="264" y="191"/>
                        <a:pt x="262" y="192"/>
                      </a:cubicBezTo>
                      <a:cubicBezTo>
                        <a:pt x="249" y="188"/>
                        <a:pt x="246" y="199"/>
                        <a:pt x="246" y="199"/>
                      </a:cubicBezTo>
                      <a:cubicBezTo>
                        <a:pt x="228" y="197"/>
                        <a:pt x="229" y="206"/>
                        <a:pt x="229" y="206"/>
                      </a:cubicBezTo>
                      <a:cubicBezTo>
                        <a:pt x="231" y="210"/>
                        <a:pt x="225" y="215"/>
                        <a:pt x="225" y="215"/>
                      </a:cubicBezTo>
                      <a:cubicBezTo>
                        <a:pt x="232" y="215"/>
                        <a:pt x="238" y="224"/>
                        <a:pt x="238" y="224"/>
                      </a:cubicBezTo>
                      <a:cubicBezTo>
                        <a:pt x="245" y="227"/>
                        <a:pt x="227" y="226"/>
                        <a:pt x="227" y="236"/>
                      </a:cubicBezTo>
                      <a:cubicBezTo>
                        <a:pt x="227" y="240"/>
                        <a:pt x="239" y="247"/>
                        <a:pt x="239" y="247"/>
                      </a:cubicBezTo>
                      <a:cubicBezTo>
                        <a:pt x="235" y="267"/>
                        <a:pt x="253" y="261"/>
                        <a:pt x="244" y="273"/>
                      </a:cubicBezTo>
                      <a:cubicBezTo>
                        <a:pt x="242" y="277"/>
                        <a:pt x="242" y="287"/>
                        <a:pt x="242" y="287"/>
                      </a:cubicBezTo>
                      <a:cubicBezTo>
                        <a:pt x="246" y="305"/>
                        <a:pt x="237" y="302"/>
                        <a:pt x="237" y="302"/>
                      </a:cubicBezTo>
                      <a:cubicBezTo>
                        <a:pt x="221" y="303"/>
                        <a:pt x="220" y="298"/>
                        <a:pt x="220" y="298"/>
                      </a:cubicBezTo>
                      <a:cubicBezTo>
                        <a:pt x="203" y="291"/>
                        <a:pt x="192" y="300"/>
                        <a:pt x="192" y="300"/>
                      </a:cubicBezTo>
                      <a:cubicBezTo>
                        <a:pt x="187" y="306"/>
                        <a:pt x="175" y="309"/>
                        <a:pt x="175" y="309"/>
                      </a:cubicBezTo>
                      <a:cubicBezTo>
                        <a:pt x="165" y="309"/>
                        <a:pt x="160" y="314"/>
                        <a:pt x="160" y="314"/>
                      </a:cubicBezTo>
                      <a:cubicBezTo>
                        <a:pt x="150" y="315"/>
                        <a:pt x="136" y="314"/>
                        <a:pt x="136" y="314"/>
                      </a:cubicBezTo>
                      <a:cubicBezTo>
                        <a:pt x="127" y="317"/>
                        <a:pt x="126" y="312"/>
                        <a:pt x="126" y="312"/>
                      </a:cubicBezTo>
                      <a:cubicBezTo>
                        <a:pt x="115" y="306"/>
                        <a:pt x="110" y="313"/>
                        <a:pt x="110" y="313"/>
                      </a:cubicBezTo>
                      <a:cubicBezTo>
                        <a:pt x="82" y="319"/>
                        <a:pt x="85" y="309"/>
                        <a:pt x="85" y="309"/>
                      </a:cubicBezTo>
                      <a:cubicBezTo>
                        <a:pt x="75" y="294"/>
                        <a:pt x="66" y="308"/>
                        <a:pt x="66" y="308"/>
                      </a:cubicBezTo>
                      <a:cubicBezTo>
                        <a:pt x="64" y="312"/>
                        <a:pt x="55" y="306"/>
                        <a:pt x="55" y="313"/>
                      </a:cubicBezTo>
                      <a:cubicBezTo>
                        <a:pt x="52" y="320"/>
                        <a:pt x="46" y="309"/>
                        <a:pt x="46" y="309"/>
                      </a:cubicBezTo>
                      <a:cubicBezTo>
                        <a:pt x="44" y="305"/>
                        <a:pt x="33" y="306"/>
                        <a:pt x="33" y="306"/>
                      </a:cubicBezTo>
                      <a:cubicBezTo>
                        <a:pt x="28" y="299"/>
                        <a:pt x="20" y="302"/>
                        <a:pt x="20" y="302"/>
                      </a:cubicBezTo>
                      <a:cubicBezTo>
                        <a:pt x="6" y="298"/>
                        <a:pt x="11" y="289"/>
                        <a:pt x="11" y="289"/>
                      </a:cubicBezTo>
                      <a:cubicBezTo>
                        <a:pt x="0" y="273"/>
                        <a:pt x="14" y="275"/>
                        <a:pt x="14" y="275"/>
                      </a:cubicBezTo>
                      <a:cubicBezTo>
                        <a:pt x="21" y="270"/>
                        <a:pt x="15" y="254"/>
                        <a:pt x="15" y="254"/>
                      </a:cubicBezTo>
                      <a:cubicBezTo>
                        <a:pt x="19" y="243"/>
                        <a:pt x="12" y="239"/>
                        <a:pt x="12" y="239"/>
                      </a:cubicBezTo>
                      <a:cubicBezTo>
                        <a:pt x="8" y="232"/>
                        <a:pt x="11" y="225"/>
                        <a:pt x="11" y="225"/>
                      </a:cubicBezTo>
                      <a:cubicBezTo>
                        <a:pt x="18" y="210"/>
                        <a:pt x="35" y="207"/>
                        <a:pt x="35" y="207"/>
                      </a:cubicBezTo>
                      <a:cubicBezTo>
                        <a:pt x="37" y="192"/>
                        <a:pt x="52" y="192"/>
                        <a:pt x="52" y="192"/>
                      </a:cubicBezTo>
                      <a:cubicBezTo>
                        <a:pt x="75" y="180"/>
                        <a:pt x="66" y="162"/>
                        <a:pt x="66" y="162"/>
                      </a:cubicBezTo>
                      <a:cubicBezTo>
                        <a:pt x="66" y="145"/>
                        <a:pt x="62" y="141"/>
                        <a:pt x="62" y="141"/>
                      </a:cubicBezTo>
                      <a:cubicBezTo>
                        <a:pt x="53" y="129"/>
                        <a:pt x="69" y="121"/>
                        <a:pt x="69" y="121"/>
                      </a:cubicBezTo>
                      <a:cubicBezTo>
                        <a:pt x="69" y="121"/>
                        <a:pt x="69" y="121"/>
                        <a:pt x="69" y="121"/>
                      </a:cubicBezTo>
                      <a:cubicBezTo>
                        <a:pt x="86" y="115"/>
                        <a:pt x="86" y="115"/>
                        <a:pt x="86" y="115"/>
                      </a:cubicBezTo>
                      <a:cubicBezTo>
                        <a:pt x="86" y="115"/>
                        <a:pt x="86" y="115"/>
                        <a:pt x="86" y="115"/>
                      </a:cubicBezTo>
                      <a:cubicBezTo>
                        <a:pt x="98" y="108"/>
                        <a:pt x="99" y="100"/>
                        <a:pt x="99" y="100"/>
                      </a:cubicBezTo>
                      <a:cubicBezTo>
                        <a:pt x="96" y="93"/>
                        <a:pt x="80" y="94"/>
                        <a:pt x="80" y="94"/>
                      </a:cubicBezTo>
                      <a:cubicBezTo>
                        <a:pt x="53" y="79"/>
                        <a:pt x="80" y="79"/>
                        <a:pt x="80" y="79"/>
                      </a:cubicBezTo>
                      <a:cubicBezTo>
                        <a:pt x="96" y="72"/>
                        <a:pt x="100" y="82"/>
                        <a:pt x="100" y="82"/>
                      </a:cubicBezTo>
                      <a:cubicBezTo>
                        <a:pt x="100" y="82"/>
                        <a:pt x="100" y="82"/>
                        <a:pt x="100" y="82"/>
                      </a:cubicBezTo>
                      <a:cubicBezTo>
                        <a:pt x="110" y="65"/>
                        <a:pt x="110" y="65"/>
                        <a:pt x="110" y="65"/>
                      </a:cubicBezTo>
                      <a:cubicBezTo>
                        <a:pt x="110" y="65"/>
                        <a:pt x="110" y="65"/>
                        <a:pt x="110" y="65"/>
                      </a:cubicBezTo>
                      <a:cubicBezTo>
                        <a:pt x="118" y="69"/>
                        <a:pt x="133" y="76"/>
                        <a:pt x="133" y="76"/>
                      </a:cubicBezTo>
                      <a:cubicBezTo>
                        <a:pt x="151" y="89"/>
                        <a:pt x="154" y="79"/>
                        <a:pt x="154" y="79"/>
                      </a:cubicBezTo>
                      <a:cubicBezTo>
                        <a:pt x="154" y="79"/>
                        <a:pt x="161" y="72"/>
                        <a:pt x="157" y="59"/>
                      </a:cubicBezTo>
                      <a:cubicBezTo>
                        <a:pt x="157" y="59"/>
                        <a:pt x="147" y="56"/>
                        <a:pt x="161" y="42"/>
                      </a:cubicBezTo>
                      <a:cubicBezTo>
                        <a:pt x="161" y="42"/>
                        <a:pt x="164" y="22"/>
                        <a:pt x="176" y="23"/>
                      </a:cubicBezTo>
                      <a:cubicBezTo>
                        <a:pt x="189" y="9"/>
                        <a:pt x="202" y="12"/>
                        <a:pt x="206" y="8"/>
                      </a:cubicBezTo>
                      <a:cubicBezTo>
                        <a:pt x="213" y="1"/>
                        <a:pt x="224" y="9"/>
                        <a:pt x="234" y="4"/>
                      </a:cubicBezTo>
                      <a:cubicBezTo>
                        <a:pt x="236" y="9"/>
                        <a:pt x="257" y="0"/>
                        <a:pt x="267" y="15"/>
                      </a:cubicBezTo>
                      <a:cubicBezTo>
                        <a:pt x="285" y="31"/>
                        <a:pt x="293" y="40"/>
                        <a:pt x="305" y="37"/>
                      </a:cubicBezTo>
                      <a:cubicBezTo>
                        <a:pt x="319" y="39"/>
                        <a:pt x="335" y="37"/>
                        <a:pt x="335" y="37"/>
                      </a:cubicBezTo>
                      <a:cubicBezTo>
                        <a:pt x="362" y="21"/>
                        <a:pt x="360" y="53"/>
                        <a:pt x="360" y="53"/>
                      </a:cubicBezTo>
                      <a:cubicBezTo>
                        <a:pt x="383" y="63"/>
                        <a:pt x="378" y="71"/>
                        <a:pt x="378" y="71"/>
                      </a:cubicBezTo>
                      <a:cubicBezTo>
                        <a:pt x="381" y="82"/>
                        <a:pt x="388" y="83"/>
                        <a:pt x="388" y="83"/>
                      </a:cubicBezTo>
                      <a:cubicBezTo>
                        <a:pt x="400" y="88"/>
                        <a:pt x="398" y="99"/>
                        <a:pt x="398" y="99"/>
                      </a:cubicBezTo>
                      <a:cubicBezTo>
                        <a:pt x="400" y="119"/>
                        <a:pt x="411" y="99"/>
                        <a:pt x="411" y="99"/>
                      </a:cubicBezTo>
                      <a:cubicBezTo>
                        <a:pt x="418" y="80"/>
                        <a:pt x="431" y="89"/>
                        <a:pt x="431" y="89"/>
                      </a:cubicBezTo>
                      <a:cubicBezTo>
                        <a:pt x="433" y="98"/>
                        <a:pt x="448" y="89"/>
                        <a:pt x="448" y="89"/>
                      </a:cubicBezTo>
                      <a:cubicBezTo>
                        <a:pt x="463" y="93"/>
                        <a:pt x="455" y="97"/>
                        <a:pt x="455" y="97"/>
                      </a:cubicBezTo>
                      <a:cubicBezTo>
                        <a:pt x="449" y="103"/>
                        <a:pt x="459" y="107"/>
                        <a:pt x="460" y="99"/>
                      </a:cubicBezTo>
                      <a:cubicBezTo>
                        <a:pt x="466" y="93"/>
                        <a:pt x="473" y="97"/>
                        <a:pt x="473" y="97"/>
                      </a:cubicBezTo>
                      <a:cubicBezTo>
                        <a:pt x="473" y="100"/>
                        <a:pt x="462" y="106"/>
                        <a:pt x="466" y="117"/>
                      </a:cubicBezTo>
                      <a:cubicBezTo>
                        <a:pt x="461" y="142"/>
                        <a:pt x="469" y="142"/>
                        <a:pt x="469" y="142"/>
                      </a:cubicBezTo>
                      <a:cubicBezTo>
                        <a:pt x="479" y="144"/>
                        <a:pt x="480" y="155"/>
                        <a:pt x="480" y="155"/>
                      </a:cubicBezTo>
                      <a:cubicBezTo>
                        <a:pt x="484" y="164"/>
                        <a:pt x="477" y="167"/>
                        <a:pt x="477" y="167"/>
                      </a:cubicBezTo>
                      <a:cubicBezTo>
                        <a:pt x="469" y="168"/>
                        <a:pt x="477" y="182"/>
                        <a:pt x="477" y="182"/>
                      </a:cubicBezTo>
                      <a:cubicBezTo>
                        <a:pt x="484" y="199"/>
                        <a:pt x="463" y="192"/>
                        <a:pt x="463" y="192"/>
                      </a:cubicBezTo>
                      <a:cubicBezTo>
                        <a:pt x="450" y="177"/>
                        <a:pt x="443" y="188"/>
                        <a:pt x="443" y="188"/>
                      </a:cubicBezTo>
                      <a:cubicBezTo>
                        <a:pt x="434" y="199"/>
                        <a:pt x="443" y="206"/>
                        <a:pt x="443" y="206"/>
                      </a:cubicBezTo>
                      <a:cubicBezTo>
                        <a:pt x="453" y="214"/>
                        <a:pt x="443" y="217"/>
                        <a:pt x="443" y="217"/>
                      </a:cubicBezTo>
                      <a:cubicBezTo>
                        <a:pt x="429" y="219"/>
                        <a:pt x="444" y="233"/>
                        <a:pt x="444" y="233"/>
                      </a:cubicBezTo>
                      <a:cubicBezTo>
                        <a:pt x="444" y="233"/>
                        <a:pt x="444" y="233"/>
                        <a:pt x="444" y="233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4" name="Freeform 41"/>
                <p:cNvSpPr>
                  <a:spLocks/>
                </p:cNvSpPr>
                <p:nvPr/>
              </p:nvSpPr>
              <p:spPr bwMode="auto">
                <a:xfrm>
                  <a:off x="2845881" y="3153094"/>
                  <a:ext cx="1120174" cy="825030"/>
                </a:xfrm>
                <a:custGeom>
                  <a:avLst/>
                  <a:gdLst/>
                  <a:ahLst/>
                  <a:cxnLst>
                    <a:cxn ang="0">
                      <a:pos x="385" y="177"/>
                    </a:cxn>
                    <a:cxn ang="0">
                      <a:pos x="389" y="206"/>
                    </a:cxn>
                    <a:cxn ang="0">
                      <a:pos x="389" y="228"/>
                    </a:cxn>
                    <a:cxn ang="0">
                      <a:pos x="372" y="230"/>
                    </a:cxn>
                    <a:cxn ang="0">
                      <a:pos x="355" y="235"/>
                    </a:cxn>
                    <a:cxn ang="0">
                      <a:pos x="342" y="217"/>
                    </a:cxn>
                    <a:cxn ang="0">
                      <a:pos x="332" y="209"/>
                    </a:cxn>
                    <a:cxn ang="0">
                      <a:pos x="319" y="221"/>
                    </a:cxn>
                    <a:cxn ang="0">
                      <a:pos x="311" y="233"/>
                    </a:cxn>
                    <a:cxn ang="0">
                      <a:pos x="301" y="242"/>
                    </a:cxn>
                    <a:cxn ang="0">
                      <a:pos x="288" y="244"/>
                    </a:cxn>
                    <a:cxn ang="0">
                      <a:pos x="275" y="243"/>
                    </a:cxn>
                    <a:cxn ang="0">
                      <a:pos x="250" y="240"/>
                    </a:cxn>
                    <a:cxn ang="0">
                      <a:pos x="238" y="252"/>
                    </a:cxn>
                    <a:cxn ang="0">
                      <a:pos x="230" y="270"/>
                    </a:cxn>
                    <a:cxn ang="0">
                      <a:pos x="209" y="274"/>
                    </a:cxn>
                    <a:cxn ang="0">
                      <a:pos x="192" y="273"/>
                    </a:cxn>
                    <a:cxn ang="0">
                      <a:pos x="178" y="273"/>
                    </a:cxn>
                    <a:cxn ang="0">
                      <a:pos x="139" y="272"/>
                    </a:cxn>
                    <a:cxn ang="0">
                      <a:pos x="127" y="286"/>
                    </a:cxn>
                    <a:cxn ang="0">
                      <a:pos x="122" y="300"/>
                    </a:cxn>
                    <a:cxn ang="0">
                      <a:pos x="115" y="306"/>
                    </a:cxn>
                    <a:cxn ang="0">
                      <a:pos x="87" y="320"/>
                    </a:cxn>
                    <a:cxn ang="0">
                      <a:pos x="59" y="330"/>
                    </a:cxn>
                    <a:cxn ang="0">
                      <a:pos x="56" y="318"/>
                    </a:cxn>
                    <a:cxn ang="0">
                      <a:pos x="51" y="301"/>
                    </a:cxn>
                    <a:cxn ang="0">
                      <a:pos x="44" y="286"/>
                    </a:cxn>
                    <a:cxn ang="0">
                      <a:pos x="33" y="265"/>
                    </a:cxn>
                    <a:cxn ang="0">
                      <a:pos x="23" y="253"/>
                    </a:cxn>
                    <a:cxn ang="0">
                      <a:pos x="21" y="241"/>
                    </a:cxn>
                    <a:cxn ang="0">
                      <a:pos x="16" y="224"/>
                    </a:cxn>
                    <a:cxn ang="0">
                      <a:pos x="15" y="213"/>
                    </a:cxn>
                    <a:cxn ang="0">
                      <a:pos x="20" y="187"/>
                    </a:cxn>
                    <a:cxn ang="0">
                      <a:pos x="31" y="193"/>
                    </a:cxn>
                    <a:cxn ang="0">
                      <a:pos x="47" y="185"/>
                    </a:cxn>
                    <a:cxn ang="0">
                      <a:pos x="68" y="177"/>
                    </a:cxn>
                    <a:cxn ang="0">
                      <a:pos x="82" y="177"/>
                    </a:cxn>
                    <a:cxn ang="0">
                      <a:pos x="99" y="183"/>
                    </a:cxn>
                    <a:cxn ang="0">
                      <a:pos x="104" y="173"/>
                    </a:cxn>
                    <a:cxn ang="0">
                      <a:pos x="114" y="167"/>
                    </a:cxn>
                    <a:cxn ang="0">
                      <a:pos x="144" y="166"/>
                    </a:cxn>
                    <a:cxn ang="0">
                      <a:pos x="169" y="153"/>
                    </a:cxn>
                    <a:cxn ang="0">
                      <a:pos x="187" y="135"/>
                    </a:cxn>
                    <a:cxn ang="0">
                      <a:pos x="188" y="118"/>
                    </a:cxn>
                    <a:cxn ang="0">
                      <a:pos x="194" y="90"/>
                    </a:cxn>
                    <a:cxn ang="0">
                      <a:pos x="209" y="70"/>
                    </a:cxn>
                    <a:cxn ang="0">
                      <a:pos x="227" y="69"/>
                    </a:cxn>
                    <a:cxn ang="0">
                      <a:pos x="251" y="72"/>
                    </a:cxn>
                    <a:cxn ang="0">
                      <a:pos x="268" y="46"/>
                    </a:cxn>
                    <a:cxn ang="0">
                      <a:pos x="273" y="30"/>
                    </a:cxn>
                    <a:cxn ang="0">
                      <a:pos x="284" y="17"/>
                    </a:cxn>
                    <a:cxn ang="0">
                      <a:pos x="301" y="0"/>
                    </a:cxn>
                    <a:cxn ang="0">
                      <a:pos x="316" y="16"/>
                    </a:cxn>
                    <a:cxn ang="0">
                      <a:pos x="325" y="36"/>
                    </a:cxn>
                    <a:cxn ang="0">
                      <a:pos x="335" y="47"/>
                    </a:cxn>
                    <a:cxn ang="0">
                      <a:pos x="337" y="65"/>
                    </a:cxn>
                    <a:cxn ang="0">
                      <a:pos x="344" y="80"/>
                    </a:cxn>
                    <a:cxn ang="0">
                      <a:pos x="359" y="98"/>
                    </a:cxn>
                    <a:cxn ang="0">
                      <a:pos x="374" y="111"/>
                    </a:cxn>
                    <a:cxn ang="0">
                      <a:pos x="375" y="125"/>
                    </a:cxn>
                    <a:cxn ang="0">
                      <a:pos x="376" y="147"/>
                    </a:cxn>
                    <a:cxn ang="0">
                      <a:pos x="385" y="177"/>
                    </a:cxn>
                    <a:cxn ang="0">
                      <a:pos x="385" y="177"/>
                    </a:cxn>
                  </a:cxnLst>
                  <a:rect l="0" t="0" r="r" b="b"/>
                  <a:pathLst>
                    <a:path w="396" h="330">
                      <a:moveTo>
                        <a:pt x="385" y="177"/>
                      </a:moveTo>
                      <a:cubicBezTo>
                        <a:pt x="374" y="195"/>
                        <a:pt x="385" y="191"/>
                        <a:pt x="389" y="206"/>
                      </a:cubicBezTo>
                      <a:cubicBezTo>
                        <a:pt x="389" y="206"/>
                        <a:pt x="396" y="220"/>
                        <a:pt x="389" y="228"/>
                      </a:cubicBezTo>
                      <a:cubicBezTo>
                        <a:pt x="380" y="238"/>
                        <a:pt x="380" y="226"/>
                        <a:pt x="372" y="230"/>
                      </a:cubicBezTo>
                      <a:cubicBezTo>
                        <a:pt x="372" y="230"/>
                        <a:pt x="365" y="239"/>
                        <a:pt x="355" y="235"/>
                      </a:cubicBezTo>
                      <a:cubicBezTo>
                        <a:pt x="355" y="235"/>
                        <a:pt x="354" y="224"/>
                        <a:pt x="342" y="217"/>
                      </a:cubicBezTo>
                      <a:cubicBezTo>
                        <a:pt x="342" y="217"/>
                        <a:pt x="335" y="217"/>
                        <a:pt x="332" y="209"/>
                      </a:cubicBezTo>
                      <a:cubicBezTo>
                        <a:pt x="332" y="209"/>
                        <a:pt x="325" y="217"/>
                        <a:pt x="319" y="221"/>
                      </a:cubicBezTo>
                      <a:cubicBezTo>
                        <a:pt x="319" y="221"/>
                        <a:pt x="310" y="223"/>
                        <a:pt x="311" y="233"/>
                      </a:cubicBezTo>
                      <a:cubicBezTo>
                        <a:pt x="311" y="233"/>
                        <a:pt x="313" y="248"/>
                        <a:pt x="301" y="242"/>
                      </a:cubicBezTo>
                      <a:cubicBezTo>
                        <a:pt x="301" y="242"/>
                        <a:pt x="296" y="232"/>
                        <a:pt x="288" y="244"/>
                      </a:cubicBezTo>
                      <a:cubicBezTo>
                        <a:pt x="288" y="244"/>
                        <a:pt x="279" y="259"/>
                        <a:pt x="275" y="243"/>
                      </a:cubicBezTo>
                      <a:cubicBezTo>
                        <a:pt x="275" y="243"/>
                        <a:pt x="260" y="234"/>
                        <a:pt x="250" y="240"/>
                      </a:cubicBezTo>
                      <a:cubicBezTo>
                        <a:pt x="250" y="240"/>
                        <a:pt x="232" y="234"/>
                        <a:pt x="238" y="252"/>
                      </a:cubicBezTo>
                      <a:cubicBezTo>
                        <a:pt x="238" y="252"/>
                        <a:pt x="229" y="261"/>
                        <a:pt x="230" y="270"/>
                      </a:cubicBezTo>
                      <a:cubicBezTo>
                        <a:pt x="230" y="270"/>
                        <a:pt x="212" y="282"/>
                        <a:pt x="209" y="274"/>
                      </a:cubicBezTo>
                      <a:cubicBezTo>
                        <a:pt x="209" y="274"/>
                        <a:pt x="205" y="265"/>
                        <a:pt x="192" y="273"/>
                      </a:cubicBezTo>
                      <a:cubicBezTo>
                        <a:pt x="192" y="273"/>
                        <a:pt x="182" y="281"/>
                        <a:pt x="178" y="273"/>
                      </a:cubicBezTo>
                      <a:cubicBezTo>
                        <a:pt x="178" y="273"/>
                        <a:pt x="161" y="268"/>
                        <a:pt x="139" y="272"/>
                      </a:cubicBezTo>
                      <a:cubicBezTo>
                        <a:pt x="139" y="272"/>
                        <a:pt x="128" y="268"/>
                        <a:pt x="127" y="286"/>
                      </a:cubicBezTo>
                      <a:cubicBezTo>
                        <a:pt x="127" y="286"/>
                        <a:pt x="118" y="296"/>
                        <a:pt x="122" y="300"/>
                      </a:cubicBezTo>
                      <a:cubicBezTo>
                        <a:pt x="122" y="300"/>
                        <a:pt x="127" y="309"/>
                        <a:pt x="115" y="306"/>
                      </a:cubicBezTo>
                      <a:cubicBezTo>
                        <a:pt x="115" y="306"/>
                        <a:pt x="102" y="302"/>
                        <a:pt x="87" y="320"/>
                      </a:cubicBezTo>
                      <a:cubicBezTo>
                        <a:pt x="81" y="325"/>
                        <a:pt x="76" y="311"/>
                        <a:pt x="59" y="330"/>
                      </a:cubicBezTo>
                      <a:cubicBezTo>
                        <a:pt x="44" y="325"/>
                        <a:pt x="56" y="318"/>
                        <a:pt x="56" y="318"/>
                      </a:cubicBezTo>
                      <a:cubicBezTo>
                        <a:pt x="62" y="303"/>
                        <a:pt x="51" y="301"/>
                        <a:pt x="51" y="301"/>
                      </a:cubicBezTo>
                      <a:cubicBezTo>
                        <a:pt x="46" y="300"/>
                        <a:pt x="58" y="285"/>
                        <a:pt x="44" y="286"/>
                      </a:cubicBezTo>
                      <a:cubicBezTo>
                        <a:pt x="35" y="283"/>
                        <a:pt x="45" y="274"/>
                        <a:pt x="33" y="265"/>
                      </a:cubicBezTo>
                      <a:cubicBezTo>
                        <a:pt x="21" y="263"/>
                        <a:pt x="31" y="250"/>
                        <a:pt x="23" y="253"/>
                      </a:cubicBezTo>
                      <a:cubicBezTo>
                        <a:pt x="17" y="252"/>
                        <a:pt x="21" y="241"/>
                        <a:pt x="21" y="241"/>
                      </a:cubicBezTo>
                      <a:cubicBezTo>
                        <a:pt x="10" y="239"/>
                        <a:pt x="16" y="224"/>
                        <a:pt x="16" y="224"/>
                      </a:cubicBezTo>
                      <a:cubicBezTo>
                        <a:pt x="0" y="224"/>
                        <a:pt x="11" y="211"/>
                        <a:pt x="15" y="213"/>
                      </a:cubicBezTo>
                      <a:cubicBezTo>
                        <a:pt x="26" y="199"/>
                        <a:pt x="20" y="187"/>
                        <a:pt x="20" y="187"/>
                      </a:cubicBezTo>
                      <a:cubicBezTo>
                        <a:pt x="31" y="182"/>
                        <a:pt x="24" y="195"/>
                        <a:pt x="31" y="193"/>
                      </a:cubicBezTo>
                      <a:cubicBezTo>
                        <a:pt x="40" y="195"/>
                        <a:pt x="47" y="185"/>
                        <a:pt x="47" y="185"/>
                      </a:cubicBezTo>
                      <a:cubicBezTo>
                        <a:pt x="51" y="176"/>
                        <a:pt x="68" y="177"/>
                        <a:pt x="68" y="177"/>
                      </a:cubicBezTo>
                      <a:cubicBezTo>
                        <a:pt x="73" y="162"/>
                        <a:pt x="82" y="177"/>
                        <a:pt x="82" y="177"/>
                      </a:cubicBezTo>
                      <a:cubicBezTo>
                        <a:pt x="93" y="177"/>
                        <a:pt x="99" y="183"/>
                        <a:pt x="99" y="183"/>
                      </a:cubicBezTo>
                      <a:cubicBezTo>
                        <a:pt x="106" y="188"/>
                        <a:pt x="104" y="173"/>
                        <a:pt x="104" y="173"/>
                      </a:cubicBezTo>
                      <a:cubicBezTo>
                        <a:pt x="104" y="155"/>
                        <a:pt x="114" y="167"/>
                        <a:pt x="114" y="167"/>
                      </a:cubicBezTo>
                      <a:cubicBezTo>
                        <a:pt x="137" y="158"/>
                        <a:pt x="144" y="166"/>
                        <a:pt x="144" y="166"/>
                      </a:cubicBezTo>
                      <a:cubicBezTo>
                        <a:pt x="167" y="166"/>
                        <a:pt x="169" y="153"/>
                        <a:pt x="169" y="153"/>
                      </a:cubicBezTo>
                      <a:cubicBezTo>
                        <a:pt x="170" y="144"/>
                        <a:pt x="187" y="135"/>
                        <a:pt x="187" y="135"/>
                      </a:cubicBezTo>
                      <a:cubicBezTo>
                        <a:pt x="187" y="126"/>
                        <a:pt x="188" y="118"/>
                        <a:pt x="188" y="118"/>
                      </a:cubicBezTo>
                      <a:cubicBezTo>
                        <a:pt x="195" y="107"/>
                        <a:pt x="194" y="90"/>
                        <a:pt x="194" y="90"/>
                      </a:cubicBezTo>
                      <a:cubicBezTo>
                        <a:pt x="194" y="63"/>
                        <a:pt x="209" y="70"/>
                        <a:pt x="209" y="70"/>
                      </a:cubicBezTo>
                      <a:cubicBezTo>
                        <a:pt x="217" y="58"/>
                        <a:pt x="227" y="69"/>
                        <a:pt x="227" y="69"/>
                      </a:cubicBezTo>
                      <a:cubicBezTo>
                        <a:pt x="234" y="76"/>
                        <a:pt x="251" y="72"/>
                        <a:pt x="251" y="72"/>
                      </a:cubicBezTo>
                      <a:cubicBezTo>
                        <a:pt x="266" y="74"/>
                        <a:pt x="268" y="46"/>
                        <a:pt x="268" y="46"/>
                      </a:cubicBezTo>
                      <a:cubicBezTo>
                        <a:pt x="279" y="43"/>
                        <a:pt x="273" y="30"/>
                        <a:pt x="273" y="30"/>
                      </a:cubicBezTo>
                      <a:cubicBezTo>
                        <a:pt x="274" y="22"/>
                        <a:pt x="287" y="22"/>
                        <a:pt x="284" y="17"/>
                      </a:cubicBezTo>
                      <a:cubicBezTo>
                        <a:pt x="282" y="5"/>
                        <a:pt x="301" y="0"/>
                        <a:pt x="301" y="0"/>
                      </a:cubicBezTo>
                      <a:cubicBezTo>
                        <a:pt x="302" y="15"/>
                        <a:pt x="316" y="16"/>
                        <a:pt x="316" y="16"/>
                      </a:cubicBezTo>
                      <a:cubicBezTo>
                        <a:pt x="316" y="38"/>
                        <a:pt x="325" y="36"/>
                        <a:pt x="325" y="36"/>
                      </a:cubicBezTo>
                      <a:cubicBezTo>
                        <a:pt x="333" y="36"/>
                        <a:pt x="335" y="47"/>
                        <a:pt x="335" y="47"/>
                      </a:cubicBezTo>
                      <a:cubicBezTo>
                        <a:pt x="341" y="52"/>
                        <a:pt x="337" y="65"/>
                        <a:pt x="337" y="65"/>
                      </a:cubicBezTo>
                      <a:cubicBezTo>
                        <a:pt x="324" y="67"/>
                        <a:pt x="344" y="80"/>
                        <a:pt x="344" y="80"/>
                      </a:cubicBezTo>
                      <a:cubicBezTo>
                        <a:pt x="359" y="86"/>
                        <a:pt x="359" y="98"/>
                        <a:pt x="359" y="98"/>
                      </a:cubicBezTo>
                      <a:cubicBezTo>
                        <a:pt x="376" y="100"/>
                        <a:pt x="374" y="111"/>
                        <a:pt x="374" y="111"/>
                      </a:cubicBezTo>
                      <a:cubicBezTo>
                        <a:pt x="388" y="124"/>
                        <a:pt x="375" y="125"/>
                        <a:pt x="375" y="125"/>
                      </a:cubicBezTo>
                      <a:cubicBezTo>
                        <a:pt x="366" y="136"/>
                        <a:pt x="376" y="147"/>
                        <a:pt x="376" y="147"/>
                      </a:cubicBezTo>
                      <a:cubicBezTo>
                        <a:pt x="386" y="159"/>
                        <a:pt x="385" y="177"/>
                        <a:pt x="385" y="177"/>
                      </a:cubicBezTo>
                      <a:cubicBezTo>
                        <a:pt x="385" y="177"/>
                        <a:pt x="385" y="177"/>
                        <a:pt x="385" y="177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5" name="Freeform 40"/>
                <p:cNvSpPr>
                  <a:spLocks/>
                </p:cNvSpPr>
                <p:nvPr/>
              </p:nvSpPr>
              <p:spPr bwMode="auto">
                <a:xfrm>
                  <a:off x="2896240" y="3597134"/>
                  <a:ext cx="1420974" cy="711002"/>
                </a:xfrm>
                <a:custGeom>
                  <a:avLst/>
                  <a:gdLst/>
                  <a:ahLst/>
                  <a:cxnLst>
                    <a:cxn ang="0">
                      <a:pos x="375" y="231"/>
                    </a:cxn>
                    <a:cxn ang="0">
                      <a:pos x="328" y="267"/>
                    </a:cxn>
                    <a:cxn ang="0">
                      <a:pos x="289" y="271"/>
                    </a:cxn>
                    <a:cxn ang="0">
                      <a:pos x="263" y="256"/>
                    </a:cxn>
                    <a:cxn ang="0">
                      <a:pos x="246" y="225"/>
                    </a:cxn>
                    <a:cxn ang="0">
                      <a:pos x="218" y="219"/>
                    </a:cxn>
                    <a:cxn ang="0">
                      <a:pos x="181" y="201"/>
                    </a:cxn>
                    <a:cxn ang="0">
                      <a:pos x="119" y="200"/>
                    </a:cxn>
                    <a:cxn ang="0">
                      <a:pos x="74" y="204"/>
                    </a:cxn>
                    <a:cxn ang="0">
                      <a:pos x="26" y="190"/>
                    </a:cxn>
                    <a:cxn ang="0">
                      <a:pos x="10" y="166"/>
                    </a:cxn>
                    <a:cxn ang="0">
                      <a:pos x="41" y="154"/>
                    </a:cxn>
                    <a:cxn ang="0">
                      <a:pos x="97" y="129"/>
                    </a:cxn>
                    <a:cxn ang="0">
                      <a:pos x="109" y="109"/>
                    </a:cxn>
                    <a:cxn ang="0">
                      <a:pos x="160" y="96"/>
                    </a:cxn>
                    <a:cxn ang="0">
                      <a:pos x="191" y="97"/>
                    </a:cxn>
                    <a:cxn ang="0">
                      <a:pos x="220" y="75"/>
                    </a:cxn>
                    <a:cxn ang="0">
                      <a:pos x="257" y="66"/>
                    </a:cxn>
                    <a:cxn ang="0">
                      <a:pos x="283" y="65"/>
                    </a:cxn>
                    <a:cxn ang="0">
                      <a:pos x="301" y="44"/>
                    </a:cxn>
                    <a:cxn ang="0">
                      <a:pos x="324" y="40"/>
                    </a:cxn>
                    <a:cxn ang="0">
                      <a:pos x="354" y="53"/>
                    </a:cxn>
                    <a:cxn ang="0">
                      <a:pos x="371" y="29"/>
                    </a:cxn>
                    <a:cxn ang="0">
                      <a:pos x="379" y="9"/>
                    </a:cxn>
                    <a:cxn ang="0">
                      <a:pos x="419" y="33"/>
                    </a:cxn>
                    <a:cxn ang="0">
                      <a:pos x="451" y="58"/>
                    </a:cxn>
                    <a:cxn ang="0">
                      <a:pos x="502" y="67"/>
                    </a:cxn>
                    <a:cxn ang="0">
                      <a:pos x="492" y="84"/>
                    </a:cxn>
                    <a:cxn ang="0">
                      <a:pos x="472" y="81"/>
                    </a:cxn>
                    <a:cxn ang="0">
                      <a:pos x="491" y="102"/>
                    </a:cxn>
                    <a:cxn ang="0">
                      <a:pos x="478" y="117"/>
                    </a:cxn>
                    <a:cxn ang="0">
                      <a:pos x="461" y="123"/>
                    </a:cxn>
                    <a:cxn ang="0">
                      <a:pos x="458" y="164"/>
                    </a:cxn>
                    <a:cxn ang="0">
                      <a:pos x="427" y="209"/>
                    </a:cxn>
                    <a:cxn ang="0">
                      <a:pos x="403" y="227"/>
                    </a:cxn>
                  </a:cxnLst>
                  <a:rect l="0" t="0" r="r" b="b"/>
                  <a:pathLst>
                    <a:path w="502" h="285">
                      <a:moveTo>
                        <a:pt x="403" y="227"/>
                      </a:moveTo>
                      <a:cubicBezTo>
                        <a:pt x="385" y="209"/>
                        <a:pt x="389" y="236"/>
                        <a:pt x="375" y="231"/>
                      </a:cubicBezTo>
                      <a:cubicBezTo>
                        <a:pt x="375" y="231"/>
                        <a:pt x="358" y="223"/>
                        <a:pt x="358" y="249"/>
                      </a:cubicBezTo>
                      <a:cubicBezTo>
                        <a:pt x="358" y="249"/>
                        <a:pt x="365" y="273"/>
                        <a:pt x="328" y="267"/>
                      </a:cubicBezTo>
                      <a:cubicBezTo>
                        <a:pt x="328" y="267"/>
                        <a:pt x="310" y="253"/>
                        <a:pt x="304" y="267"/>
                      </a:cubicBezTo>
                      <a:cubicBezTo>
                        <a:pt x="304" y="267"/>
                        <a:pt x="292" y="285"/>
                        <a:pt x="289" y="271"/>
                      </a:cubicBezTo>
                      <a:cubicBezTo>
                        <a:pt x="289" y="271"/>
                        <a:pt x="282" y="257"/>
                        <a:pt x="272" y="267"/>
                      </a:cubicBezTo>
                      <a:cubicBezTo>
                        <a:pt x="272" y="267"/>
                        <a:pt x="255" y="273"/>
                        <a:pt x="263" y="256"/>
                      </a:cubicBezTo>
                      <a:cubicBezTo>
                        <a:pt x="263" y="256"/>
                        <a:pt x="263" y="244"/>
                        <a:pt x="253" y="240"/>
                      </a:cubicBezTo>
                      <a:cubicBezTo>
                        <a:pt x="253" y="240"/>
                        <a:pt x="235" y="228"/>
                        <a:pt x="246" y="225"/>
                      </a:cubicBezTo>
                      <a:cubicBezTo>
                        <a:pt x="246" y="225"/>
                        <a:pt x="259" y="214"/>
                        <a:pt x="237" y="212"/>
                      </a:cubicBezTo>
                      <a:cubicBezTo>
                        <a:pt x="237" y="212"/>
                        <a:pt x="232" y="204"/>
                        <a:pt x="218" y="219"/>
                      </a:cubicBezTo>
                      <a:cubicBezTo>
                        <a:pt x="218" y="219"/>
                        <a:pt x="223" y="206"/>
                        <a:pt x="202" y="209"/>
                      </a:cubicBezTo>
                      <a:cubicBezTo>
                        <a:pt x="202" y="209"/>
                        <a:pt x="184" y="214"/>
                        <a:pt x="181" y="201"/>
                      </a:cubicBezTo>
                      <a:cubicBezTo>
                        <a:pt x="181" y="201"/>
                        <a:pt x="173" y="181"/>
                        <a:pt x="151" y="197"/>
                      </a:cubicBezTo>
                      <a:cubicBezTo>
                        <a:pt x="142" y="210"/>
                        <a:pt x="143" y="193"/>
                        <a:pt x="119" y="200"/>
                      </a:cubicBezTo>
                      <a:cubicBezTo>
                        <a:pt x="112" y="199"/>
                        <a:pt x="109" y="208"/>
                        <a:pt x="103" y="201"/>
                      </a:cubicBezTo>
                      <a:cubicBezTo>
                        <a:pt x="103" y="201"/>
                        <a:pt x="84" y="192"/>
                        <a:pt x="74" y="204"/>
                      </a:cubicBezTo>
                      <a:cubicBezTo>
                        <a:pt x="74" y="204"/>
                        <a:pt x="63" y="207"/>
                        <a:pt x="54" y="204"/>
                      </a:cubicBezTo>
                      <a:cubicBezTo>
                        <a:pt x="44" y="208"/>
                        <a:pt x="38" y="190"/>
                        <a:pt x="26" y="190"/>
                      </a:cubicBezTo>
                      <a:cubicBezTo>
                        <a:pt x="26" y="190"/>
                        <a:pt x="23" y="197"/>
                        <a:pt x="11" y="194"/>
                      </a:cubicBezTo>
                      <a:cubicBezTo>
                        <a:pt x="0" y="181"/>
                        <a:pt x="10" y="166"/>
                        <a:pt x="10" y="166"/>
                      </a:cubicBezTo>
                      <a:cubicBezTo>
                        <a:pt x="16" y="150"/>
                        <a:pt x="23" y="156"/>
                        <a:pt x="23" y="156"/>
                      </a:cubicBezTo>
                      <a:cubicBezTo>
                        <a:pt x="31" y="169"/>
                        <a:pt x="41" y="154"/>
                        <a:pt x="41" y="154"/>
                      </a:cubicBezTo>
                      <a:cubicBezTo>
                        <a:pt x="57" y="135"/>
                        <a:pt x="63" y="148"/>
                        <a:pt x="69" y="143"/>
                      </a:cubicBezTo>
                      <a:cubicBezTo>
                        <a:pt x="84" y="125"/>
                        <a:pt x="97" y="129"/>
                        <a:pt x="97" y="129"/>
                      </a:cubicBezTo>
                      <a:cubicBezTo>
                        <a:pt x="109" y="132"/>
                        <a:pt x="104" y="123"/>
                        <a:pt x="104" y="123"/>
                      </a:cubicBezTo>
                      <a:cubicBezTo>
                        <a:pt x="100" y="119"/>
                        <a:pt x="109" y="109"/>
                        <a:pt x="109" y="109"/>
                      </a:cubicBezTo>
                      <a:cubicBezTo>
                        <a:pt x="110" y="91"/>
                        <a:pt x="121" y="95"/>
                        <a:pt x="121" y="95"/>
                      </a:cubicBezTo>
                      <a:cubicBezTo>
                        <a:pt x="143" y="91"/>
                        <a:pt x="160" y="96"/>
                        <a:pt x="160" y="96"/>
                      </a:cubicBezTo>
                      <a:cubicBezTo>
                        <a:pt x="164" y="104"/>
                        <a:pt x="174" y="96"/>
                        <a:pt x="174" y="96"/>
                      </a:cubicBezTo>
                      <a:cubicBezTo>
                        <a:pt x="187" y="88"/>
                        <a:pt x="191" y="97"/>
                        <a:pt x="191" y="97"/>
                      </a:cubicBezTo>
                      <a:cubicBezTo>
                        <a:pt x="194" y="105"/>
                        <a:pt x="212" y="93"/>
                        <a:pt x="212" y="93"/>
                      </a:cubicBezTo>
                      <a:cubicBezTo>
                        <a:pt x="211" y="84"/>
                        <a:pt x="220" y="75"/>
                        <a:pt x="220" y="75"/>
                      </a:cubicBezTo>
                      <a:cubicBezTo>
                        <a:pt x="214" y="57"/>
                        <a:pt x="232" y="63"/>
                        <a:pt x="232" y="63"/>
                      </a:cubicBezTo>
                      <a:cubicBezTo>
                        <a:pt x="242" y="57"/>
                        <a:pt x="257" y="66"/>
                        <a:pt x="257" y="66"/>
                      </a:cubicBezTo>
                      <a:cubicBezTo>
                        <a:pt x="261" y="82"/>
                        <a:pt x="270" y="67"/>
                        <a:pt x="270" y="67"/>
                      </a:cubicBezTo>
                      <a:cubicBezTo>
                        <a:pt x="278" y="55"/>
                        <a:pt x="283" y="65"/>
                        <a:pt x="283" y="65"/>
                      </a:cubicBezTo>
                      <a:cubicBezTo>
                        <a:pt x="295" y="71"/>
                        <a:pt x="293" y="56"/>
                        <a:pt x="293" y="56"/>
                      </a:cubicBezTo>
                      <a:cubicBezTo>
                        <a:pt x="292" y="46"/>
                        <a:pt x="301" y="44"/>
                        <a:pt x="301" y="44"/>
                      </a:cubicBezTo>
                      <a:cubicBezTo>
                        <a:pt x="307" y="40"/>
                        <a:pt x="314" y="32"/>
                        <a:pt x="314" y="32"/>
                      </a:cubicBezTo>
                      <a:cubicBezTo>
                        <a:pt x="317" y="40"/>
                        <a:pt x="324" y="40"/>
                        <a:pt x="324" y="40"/>
                      </a:cubicBezTo>
                      <a:cubicBezTo>
                        <a:pt x="336" y="47"/>
                        <a:pt x="337" y="58"/>
                        <a:pt x="337" y="58"/>
                      </a:cubicBezTo>
                      <a:cubicBezTo>
                        <a:pt x="347" y="62"/>
                        <a:pt x="354" y="53"/>
                        <a:pt x="354" y="53"/>
                      </a:cubicBezTo>
                      <a:cubicBezTo>
                        <a:pt x="362" y="49"/>
                        <a:pt x="362" y="61"/>
                        <a:pt x="371" y="51"/>
                      </a:cubicBezTo>
                      <a:cubicBezTo>
                        <a:pt x="378" y="43"/>
                        <a:pt x="371" y="29"/>
                        <a:pt x="371" y="29"/>
                      </a:cubicBezTo>
                      <a:cubicBezTo>
                        <a:pt x="367" y="14"/>
                        <a:pt x="356" y="18"/>
                        <a:pt x="367" y="0"/>
                      </a:cubicBezTo>
                      <a:cubicBezTo>
                        <a:pt x="375" y="2"/>
                        <a:pt x="379" y="9"/>
                        <a:pt x="379" y="9"/>
                      </a:cubicBezTo>
                      <a:cubicBezTo>
                        <a:pt x="403" y="10"/>
                        <a:pt x="409" y="20"/>
                        <a:pt x="409" y="20"/>
                      </a:cubicBezTo>
                      <a:cubicBezTo>
                        <a:pt x="415" y="26"/>
                        <a:pt x="419" y="33"/>
                        <a:pt x="419" y="33"/>
                      </a:cubicBezTo>
                      <a:cubicBezTo>
                        <a:pt x="435" y="33"/>
                        <a:pt x="433" y="44"/>
                        <a:pt x="433" y="44"/>
                      </a:cubicBezTo>
                      <a:cubicBezTo>
                        <a:pt x="437" y="64"/>
                        <a:pt x="445" y="52"/>
                        <a:pt x="451" y="58"/>
                      </a:cubicBezTo>
                      <a:cubicBezTo>
                        <a:pt x="458" y="62"/>
                        <a:pt x="468" y="59"/>
                        <a:pt x="468" y="59"/>
                      </a:cubicBezTo>
                      <a:cubicBezTo>
                        <a:pt x="498" y="54"/>
                        <a:pt x="502" y="67"/>
                        <a:pt x="502" y="67"/>
                      </a:cubicBezTo>
                      <a:cubicBezTo>
                        <a:pt x="502" y="67"/>
                        <a:pt x="502" y="67"/>
                        <a:pt x="502" y="67"/>
                      </a:cubicBezTo>
                      <a:cubicBezTo>
                        <a:pt x="492" y="84"/>
                        <a:pt x="492" y="84"/>
                        <a:pt x="492" y="84"/>
                      </a:cubicBezTo>
                      <a:cubicBezTo>
                        <a:pt x="492" y="84"/>
                        <a:pt x="492" y="84"/>
                        <a:pt x="492" y="84"/>
                      </a:cubicBezTo>
                      <a:cubicBezTo>
                        <a:pt x="492" y="84"/>
                        <a:pt x="488" y="74"/>
                        <a:pt x="472" y="81"/>
                      </a:cubicBezTo>
                      <a:cubicBezTo>
                        <a:pt x="472" y="81"/>
                        <a:pt x="445" y="81"/>
                        <a:pt x="472" y="96"/>
                      </a:cubicBezTo>
                      <a:cubicBezTo>
                        <a:pt x="472" y="96"/>
                        <a:pt x="488" y="95"/>
                        <a:pt x="491" y="102"/>
                      </a:cubicBezTo>
                      <a:cubicBezTo>
                        <a:pt x="491" y="102"/>
                        <a:pt x="490" y="110"/>
                        <a:pt x="478" y="117"/>
                      </a:cubicBezTo>
                      <a:cubicBezTo>
                        <a:pt x="478" y="117"/>
                        <a:pt x="478" y="117"/>
                        <a:pt x="478" y="117"/>
                      </a:cubicBezTo>
                      <a:cubicBezTo>
                        <a:pt x="461" y="123"/>
                        <a:pt x="461" y="123"/>
                        <a:pt x="461" y="123"/>
                      </a:cubicBezTo>
                      <a:cubicBezTo>
                        <a:pt x="461" y="123"/>
                        <a:pt x="461" y="123"/>
                        <a:pt x="461" y="123"/>
                      </a:cubicBezTo>
                      <a:cubicBezTo>
                        <a:pt x="461" y="123"/>
                        <a:pt x="445" y="131"/>
                        <a:pt x="454" y="143"/>
                      </a:cubicBezTo>
                      <a:cubicBezTo>
                        <a:pt x="454" y="143"/>
                        <a:pt x="458" y="147"/>
                        <a:pt x="458" y="164"/>
                      </a:cubicBezTo>
                      <a:cubicBezTo>
                        <a:pt x="458" y="164"/>
                        <a:pt x="467" y="182"/>
                        <a:pt x="444" y="194"/>
                      </a:cubicBezTo>
                      <a:cubicBezTo>
                        <a:pt x="444" y="194"/>
                        <a:pt x="429" y="194"/>
                        <a:pt x="427" y="209"/>
                      </a:cubicBezTo>
                      <a:cubicBezTo>
                        <a:pt x="427" y="209"/>
                        <a:pt x="409" y="212"/>
                        <a:pt x="403" y="227"/>
                      </a:cubicBezTo>
                      <a:cubicBezTo>
                        <a:pt x="403" y="227"/>
                        <a:pt x="403" y="227"/>
                        <a:pt x="403" y="227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6" name="Freeform 39"/>
                <p:cNvSpPr>
                  <a:spLocks/>
                </p:cNvSpPr>
                <p:nvPr/>
              </p:nvSpPr>
              <p:spPr bwMode="auto">
                <a:xfrm>
                  <a:off x="2339557" y="4014345"/>
                  <a:ext cx="1135146" cy="1364318"/>
                </a:xfrm>
                <a:custGeom>
                  <a:avLst/>
                  <a:gdLst/>
                  <a:ahLst/>
                  <a:cxnLst>
                    <a:cxn ang="0">
                      <a:pos x="117" y="19"/>
                    </a:cxn>
                    <a:cxn ang="0">
                      <a:pos x="156" y="23"/>
                    </a:cxn>
                    <a:cxn ang="0">
                      <a:pos x="195" y="16"/>
                    </a:cxn>
                    <a:cxn ang="0">
                      <a:pos x="223" y="1"/>
                    </a:cxn>
                    <a:cxn ang="0">
                      <a:pos x="269" y="15"/>
                    </a:cxn>
                    <a:cxn ang="0">
                      <a:pos x="264" y="47"/>
                    </a:cxn>
                    <a:cxn ang="0">
                      <a:pos x="281" y="93"/>
                    </a:cxn>
                    <a:cxn ang="0">
                      <a:pos x="331" y="118"/>
                    </a:cxn>
                    <a:cxn ang="0">
                      <a:pos x="337" y="166"/>
                    </a:cxn>
                    <a:cxn ang="0">
                      <a:pos x="368" y="190"/>
                    </a:cxn>
                    <a:cxn ang="0">
                      <a:pos x="373" y="228"/>
                    </a:cxn>
                    <a:cxn ang="0">
                      <a:pos x="366" y="247"/>
                    </a:cxn>
                    <a:cxn ang="0">
                      <a:pos x="380" y="286"/>
                    </a:cxn>
                    <a:cxn ang="0">
                      <a:pos x="336" y="299"/>
                    </a:cxn>
                    <a:cxn ang="0">
                      <a:pos x="317" y="342"/>
                    </a:cxn>
                    <a:cxn ang="0">
                      <a:pos x="296" y="379"/>
                    </a:cxn>
                    <a:cxn ang="0">
                      <a:pos x="283" y="357"/>
                    </a:cxn>
                    <a:cxn ang="0">
                      <a:pos x="272" y="346"/>
                    </a:cxn>
                    <a:cxn ang="0">
                      <a:pos x="251" y="351"/>
                    </a:cxn>
                    <a:cxn ang="0">
                      <a:pos x="265" y="360"/>
                    </a:cxn>
                    <a:cxn ang="0">
                      <a:pos x="280" y="379"/>
                    </a:cxn>
                    <a:cxn ang="0">
                      <a:pos x="278" y="405"/>
                    </a:cxn>
                    <a:cxn ang="0">
                      <a:pos x="248" y="426"/>
                    </a:cxn>
                    <a:cxn ang="0">
                      <a:pos x="234" y="434"/>
                    </a:cxn>
                    <a:cxn ang="0">
                      <a:pos x="206" y="450"/>
                    </a:cxn>
                    <a:cxn ang="0">
                      <a:pos x="191" y="463"/>
                    </a:cxn>
                    <a:cxn ang="0">
                      <a:pos x="190" y="448"/>
                    </a:cxn>
                    <a:cxn ang="0">
                      <a:pos x="187" y="438"/>
                    </a:cxn>
                    <a:cxn ang="0">
                      <a:pos x="183" y="485"/>
                    </a:cxn>
                    <a:cxn ang="0">
                      <a:pos x="199" y="519"/>
                    </a:cxn>
                    <a:cxn ang="0">
                      <a:pos x="180" y="517"/>
                    </a:cxn>
                    <a:cxn ang="0">
                      <a:pos x="119" y="513"/>
                    </a:cxn>
                    <a:cxn ang="0">
                      <a:pos x="91" y="531"/>
                    </a:cxn>
                    <a:cxn ang="0">
                      <a:pos x="80" y="522"/>
                    </a:cxn>
                    <a:cxn ang="0">
                      <a:pos x="47" y="534"/>
                    </a:cxn>
                    <a:cxn ang="0">
                      <a:pos x="7" y="497"/>
                    </a:cxn>
                    <a:cxn ang="0">
                      <a:pos x="19" y="485"/>
                    </a:cxn>
                    <a:cxn ang="0">
                      <a:pos x="42" y="462"/>
                    </a:cxn>
                    <a:cxn ang="0">
                      <a:pos x="64" y="431"/>
                    </a:cxn>
                    <a:cxn ang="0">
                      <a:pos x="89" y="402"/>
                    </a:cxn>
                    <a:cxn ang="0">
                      <a:pos x="103" y="375"/>
                    </a:cxn>
                    <a:cxn ang="0">
                      <a:pos x="97" y="347"/>
                    </a:cxn>
                    <a:cxn ang="0">
                      <a:pos x="108" y="310"/>
                    </a:cxn>
                    <a:cxn ang="0">
                      <a:pos x="135" y="320"/>
                    </a:cxn>
                    <a:cxn ang="0">
                      <a:pos x="150" y="319"/>
                    </a:cxn>
                    <a:cxn ang="0">
                      <a:pos x="178" y="324"/>
                    </a:cxn>
                    <a:cxn ang="0">
                      <a:pos x="210" y="331"/>
                    </a:cxn>
                    <a:cxn ang="0">
                      <a:pos x="248" y="330"/>
                    </a:cxn>
                    <a:cxn ang="0">
                      <a:pos x="219" y="303"/>
                    </a:cxn>
                    <a:cxn ang="0">
                      <a:pos x="226" y="265"/>
                    </a:cxn>
                    <a:cxn ang="0">
                      <a:pos x="183" y="226"/>
                    </a:cxn>
                    <a:cxn ang="0">
                      <a:pos x="185" y="206"/>
                    </a:cxn>
                    <a:cxn ang="0">
                      <a:pos x="174" y="197"/>
                    </a:cxn>
                    <a:cxn ang="0">
                      <a:pos x="172" y="158"/>
                    </a:cxn>
                    <a:cxn ang="0">
                      <a:pos x="132" y="138"/>
                    </a:cxn>
                    <a:cxn ang="0">
                      <a:pos x="135" y="96"/>
                    </a:cxn>
                    <a:cxn ang="0">
                      <a:pos x="138" y="71"/>
                    </a:cxn>
                    <a:cxn ang="0">
                      <a:pos x="120" y="41"/>
                    </a:cxn>
                    <a:cxn ang="0">
                      <a:pos x="101" y="35"/>
                    </a:cxn>
                  </a:cxnLst>
                  <a:rect l="0" t="0" r="r" b="b"/>
                  <a:pathLst>
                    <a:path w="401" h="546">
                      <a:moveTo>
                        <a:pt x="101" y="35"/>
                      </a:moveTo>
                      <a:cubicBezTo>
                        <a:pt x="113" y="32"/>
                        <a:pt x="117" y="19"/>
                        <a:pt x="117" y="19"/>
                      </a:cubicBezTo>
                      <a:cubicBezTo>
                        <a:pt x="120" y="0"/>
                        <a:pt x="128" y="17"/>
                        <a:pt x="128" y="17"/>
                      </a:cubicBezTo>
                      <a:cubicBezTo>
                        <a:pt x="138" y="27"/>
                        <a:pt x="156" y="23"/>
                        <a:pt x="156" y="23"/>
                      </a:cubicBezTo>
                      <a:cubicBezTo>
                        <a:pt x="167" y="13"/>
                        <a:pt x="174" y="24"/>
                        <a:pt x="174" y="24"/>
                      </a:cubicBezTo>
                      <a:cubicBezTo>
                        <a:pt x="195" y="27"/>
                        <a:pt x="195" y="16"/>
                        <a:pt x="195" y="16"/>
                      </a:cubicBezTo>
                      <a:cubicBezTo>
                        <a:pt x="193" y="5"/>
                        <a:pt x="208" y="5"/>
                        <a:pt x="208" y="5"/>
                      </a:cubicBezTo>
                      <a:cubicBezTo>
                        <a:pt x="220" y="8"/>
                        <a:pt x="223" y="1"/>
                        <a:pt x="223" y="1"/>
                      </a:cubicBezTo>
                      <a:cubicBezTo>
                        <a:pt x="235" y="1"/>
                        <a:pt x="241" y="19"/>
                        <a:pt x="251" y="15"/>
                      </a:cubicBezTo>
                      <a:cubicBezTo>
                        <a:pt x="260" y="18"/>
                        <a:pt x="269" y="15"/>
                        <a:pt x="269" y="15"/>
                      </a:cubicBezTo>
                      <a:cubicBezTo>
                        <a:pt x="274" y="24"/>
                        <a:pt x="265" y="23"/>
                        <a:pt x="265" y="23"/>
                      </a:cubicBezTo>
                      <a:cubicBezTo>
                        <a:pt x="252" y="32"/>
                        <a:pt x="264" y="47"/>
                        <a:pt x="264" y="47"/>
                      </a:cubicBezTo>
                      <a:cubicBezTo>
                        <a:pt x="274" y="53"/>
                        <a:pt x="272" y="77"/>
                        <a:pt x="272" y="77"/>
                      </a:cubicBezTo>
                      <a:cubicBezTo>
                        <a:pt x="282" y="76"/>
                        <a:pt x="281" y="93"/>
                        <a:pt x="281" y="93"/>
                      </a:cubicBezTo>
                      <a:cubicBezTo>
                        <a:pt x="278" y="118"/>
                        <a:pt x="304" y="110"/>
                        <a:pt x="304" y="110"/>
                      </a:cubicBezTo>
                      <a:cubicBezTo>
                        <a:pt x="321" y="112"/>
                        <a:pt x="331" y="104"/>
                        <a:pt x="331" y="118"/>
                      </a:cubicBezTo>
                      <a:cubicBezTo>
                        <a:pt x="344" y="133"/>
                        <a:pt x="333" y="142"/>
                        <a:pt x="333" y="142"/>
                      </a:cubicBezTo>
                      <a:cubicBezTo>
                        <a:pt x="332" y="152"/>
                        <a:pt x="337" y="166"/>
                        <a:pt x="337" y="166"/>
                      </a:cubicBezTo>
                      <a:cubicBezTo>
                        <a:pt x="339" y="178"/>
                        <a:pt x="359" y="176"/>
                        <a:pt x="359" y="176"/>
                      </a:cubicBezTo>
                      <a:cubicBezTo>
                        <a:pt x="384" y="172"/>
                        <a:pt x="366" y="187"/>
                        <a:pt x="368" y="190"/>
                      </a:cubicBezTo>
                      <a:cubicBezTo>
                        <a:pt x="369" y="196"/>
                        <a:pt x="387" y="196"/>
                        <a:pt x="388" y="203"/>
                      </a:cubicBezTo>
                      <a:cubicBezTo>
                        <a:pt x="401" y="225"/>
                        <a:pt x="373" y="228"/>
                        <a:pt x="373" y="228"/>
                      </a:cubicBezTo>
                      <a:cubicBezTo>
                        <a:pt x="353" y="228"/>
                        <a:pt x="359" y="236"/>
                        <a:pt x="359" y="236"/>
                      </a:cubicBezTo>
                      <a:cubicBezTo>
                        <a:pt x="356" y="243"/>
                        <a:pt x="366" y="247"/>
                        <a:pt x="366" y="247"/>
                      </a:cubicBezTo>
                      <a:cubicBezTo>
                        <a:pt x="376" y="255"/>
                        <a:pt x="373" y="269"/>
                        <a:pt x="373" y="269"/>
                      </a:cubicBezTo>
                      <a:cubicBezTo>
                        <a:pt x="370" y="286"/>
                        <a:pt x="380" y="286"/>
                        <a:pt x="380" y="286"/>
                      </a:cubicBezTo>
                      <a:cubicBezTo>
                        <a:pt x="373" y="293"/>
                        <a:pt x="360" y="294"/>
                        <a:pt x="360" y="294"/>
                      </a:cubicBezTo>
                      <a:cubicBezTo>
                        <a:pt x="355" y="298"/>
                        <a:pt x="336" y="299"/>
                        <a:pt x="336" y="299"/>
                      </a:cubicBezTo>
                      <a:cubicBezTo>
                        <a:pt x="326" y="297"/>
                        <a:pt x="333" y="319"/>
                        <a:pt x="333" y="319"/>
                      </a:cubicBezTo>
                      <a:cubicBezTo>
                        <a:pt x="331" y="336"/>
                        <a:pt x="317" y="342"/>
                        <a:pt x="317" y="342"/>
                      </a:cubicBezTo>
                      <a:cubicBezTo>
                        <a:pt x="319" y="353"/>
                        <a:pt x="309" y="361"/>
                        <a:pt x="309" y="361"/>
                      </a:cubicBezTo>
                      <a:cubicBezTo>
                        <a:pt x="303" y="378"/>
                        <a:pt x="296" y="379"/>
                        <a:pt x="296" y="379"/>
                      </a:cubicBezTo>
                      <a:cubicBezTo>
                        <a:pt x="284" y="371"/>
                        <a:pt x="283" y="357"/>
                        <a:pt x="283" y="357"/>
                      </a:cubicBezTo>
                      <a:cubicBezTo>
                        <a:pt x="283" y="357"/>
                        <a:pt x="283" y="357"/>
                        <a:pt x="283" y="357"/>
                      </a:cubicBezTo>
                      <a:cubicBezTo>
                        <a:pt x="272" y="346"/>
                        <a:pt x="272" y="346"/>
                        <a:pt x="272" y="346"/>
                      </a:cubicBezTo>
                      <a:cubicBezTo>
                        <a:pt x="272" y="346"/>
                        <a:pt x="272" y="346"/>
                        <a:pt x="272" y="346"/>
                      </a:cubicBezTo>
                      <a:cubicBezTo>
                        <a:pt x="271" y="337"/>
                        <a:pt x="260" y="329"/>
                        <a:pt x="250" y="337"/>
                      </a:cubicBezTo>
                      <a:cubicBezTo>
                        <a:pt x="238" y="346"/>
                        <a:pt x="251" y="351"/>
                        <a:pt x="251" y="351"/>
                      </a:cubicBezTo>
                      <a:cubicBezTo>
                        <a:pt x="251" y="351"/>
                        <a:pt x="251" y="351"/>
                        <a:pt x="251" y="351"/>
                      </a:cubicBezTo>
                      <a:cubicBezTo>
                        <a:pt x="265" y="360"/>
                        <a:pt x="265" y="360"/>
                        <a:pt x="265" y="360"/>
                      </a:cubicBezTo>
                      <a:cubicBezTo>
                        <a:pt x="265" y="360"/>
                        <a:pt x="265" y="360"/>
                        <a:pt x="265" y="360"/>
                      </a:cubicBezTo>
                      <a:cubicBezTo>
                        <a:pt x="278" y="366"/>
                        <a:pt x="280" y="379"/>
                        <a:pt x="280" y="379"/>
                      </a:cubicBezTo>
                      <a:cubicBezTo>
                        <a:pt x="293" y="397"/>
                        <a:pt x="278" y="405"/>
                        <a:pt x="278" y="405"/>
                      </a:cubicBezTo>
                      <a:cubicBezTo>
                        <a:pt x="278" y="405"/>
                        <a:pt x="278" y="405"/>
                        <a:pt x="278" y="405"/>
                      </a:cubicBezTo>
                      <a:cubicBezTo>
                        <a:pt x="248" y="437"/>
                        <a:pt x="248" y="437"/>
                        <a:pt x="248" y="437"/>
                      </a:cubicBezTo>
                      <a:cubicBezTo>
                        <a:pt x="248" y="426"/>
                        <a:pt x="248" y="426"/>
                        <a:pt x="248" y="426"/>
                      </a:cubicBezTo>
                      <a:cubicBezTo>
                        <a:pt x="234" y="434"/>
                        <a:pt x="234" y="434"/>
                        <a:pt x="234" y="434"/>
                      </a:cubicBezTo>
                      <a:cubicBezTo>
                        <a:pt x="234" y="434"/>
                        <a:pt x="234" y="434"/>
                        <a:pt x="234" y="434"/>
                      </a:cubicBezTo>
                      <a:cubicBezTo>
                        <a:pt x="219" y="434"/>
                        <a:pt x="220" y="448"/>
                        <a:pt x="220" y="448"/>
                      </a:cubicBezTo>
                      <a:cubicBezTo>
                        <a:pt x="216" y="453"/>
                        <a:pt x="206" y="450"/>
                        <a:pt x="206" y="450"/>
                      </a:cubicBezTo>
                      <a:cubicBezTo>
                        <a:pt x="203" y="456"/>
                        <a:pt x="214" y="457"/>
                        <a:pt x="210" y="466"/>
                      </a:cubicBezTo>
                      <a:cubicBezTo>
                        <a:pt x="199" y="475"/>
                        <a:pt x="191" y="463"/>
                        <a:pt x="191" y="463"/>
                      </a:cubicBezTo>
                      <a:cubicBezTo>
                        <a:pt x="191" y="463"/>
                        <a:pt x="191" y="463"/>
                        <a:pt x="191" y="463"/>
                      </a:cubicBezTo>
                      <a:cubicBezTo>
                        <a:pt x="190" y="448"/>
                        <a:pt x="190" y="448"/>
                        <a:pt x="190" y="448"/>
                      </a:cubicBezTo>
                      <a:cubicBezTo>
                        <a:pt x="187" y="438"/>
                        <a:pt x="187" y="438"/>
                        <a:pt x="187" y="438"/>
                      </a:cubicBezTo>
                      <a:cubicBezTo>
                        <a:pt x="187" y="438"/>
                        <a:pt x="187" y="438"/>
                        <a:pt x="187" y="438"/>
                      </a:cubicBezTo>
                      <a:cubicBezTo>
                        <a:pt x="179" y="443"/>
                        <a:pt x="183" y="458"/>
                        <a:pt x="183" y="458"/>
                      </a:cubicBezTo>
                      <a:cubicBezTo>
                        <a:pt x="175" y="474"/>
                        <a:pt x="183" y="485"/>
                        <a:pt x="183" y="485"/>
                      </a:cubicBezTo>
                      <a:cubicBezTo>
                        <a:pt x="179" y="505"/>
                        <a:pt x="189" y="500"/>
                        <a:pt x="189" y="500"/>
                      </a:cubicBezTo>
                      <a:cubicBezTo>
                        <a:pt x="201" y="498"/>
                        <a:pt x="199" y="519"/>
                        <a:pt x="199" y="519"/>
                      </a:cubicBezTo>
                      <a:cubicBezTo>
                        <a:pt x="197" y="544"/>
                        <a:pt x="185" y="544"/>
                        <a:pt x="185" y="544"/>
                      </a:cubicBezTo>
                      <a:cubicBezTo>
                        <a:pt x="185" y="544"/>
                        <a:pt x="190" y="525"/>
                        <a:pt x="180" y="517"/>
                      </a:cubicBezTo>
                      <a:cubicBezTo>
                        <a:pt x="180" y="517"/>
                        <a:pt x="179" y="506"/>
                        <a:pt x="158" y="503"/>
                      </a:cubicBezTo>
                      <a:cubicBezTo>
                        <a:pt x="158" y="503"/>
                        <a:pt x="131" y="498"/>
                        <a:pt x="119" y="513"/>
                      </a:cubicBezTo>
                      <a:cubicBezTo>
                        <a:pt x="119" y="513"/>
                        <a:pt x="98" y="514"/>
                        <a:pt x="91" y="531"/>
                      </a:cubicBezTo>
                      <a:cubicBezTo>
                        <a:pt x="91" y="531"/>
                        <a:pt x="91" y="531"/>
                        <a:pt x="91" y="531"/>
                      </a:cubicBezTo>
                      <a:cubicBezTo>
                        <a:pt x="80" y="522"/>
                        <a:pt x="80" y="522"/>
                        <a:pt x="80" y="522"/>
                      </a:cubicBezTo>
                      <a:cubicBezTo>
                        <a:pt x="80" y="522"/>
                        <a:pt x="80" y="522"/>
                        <a:pt x="80" y="522"/>
                      </a:cubicBezTo>
                      <a:cubicBezTo>
                        <a:pt x="80" y="522"/>
                        <a:pt x="69" y="525"/>
                        <a:pt x="73" y="532"/>
                      </a:cubicBezTo>
                      <a:cubicBezTo>
                        <a:pt x="73" y="532"/>
                        <a:pt x="73" y="546"/>
                        <a:pt x="47" y="534"/>
                      </a:cubicBezTo>
                      <a:cubicBezTo>
                        <a:pt x="36" y="522"/>
                        <a:pt x="25" y="529"/>
                        <a:pt x="18" y="519"/>
                      </a:cubicBezTo>
                      <a:cubicBezTo>
                        <a:pt x="18" y="519"/>
                        <a:pt x="7" y="514"/>
                        <a:pt x="7" y="497"/>
                      </a:cubicBezTo>
                      <a:cubicBezTo>
                        <a:pt x="7" y="497"/>
                        <a:pt x="1" y="498"/>
                        <a:pt x="0" y="492"/>
                      </a:cubicBezTo>
                      <a:cubicBezTo>
                        <a:pt x="0" y="492"/>
                        <a:pt x="8" y="477"/>
                        <a:pt x="19" y="485"/>
                      </a:cubicBezTo>
                      <a:cubicBezTo>
                        <a:pt x="19" y="485"/>
                        <a:pt x="25" y="481"/>
                        <a:pt x="33" y="485"/>
                      </a:cubicBezTo>
                      <a:cubicBezTo>
                        <a:pt x="33" y="485"/>
                        <a:pt x="47" y="489"/>
                        <a:pt x="42" y="462"/>
                      </a:cubicBezTo>
                      <a:cubicBezTo>
                        <a:pt x="42" y="462"/>
                        <a:pt x="27" y="459"/>
                        <a:pt x="51" y="444"/>
                      </a:cubicBezTo>
                      <a:cubicBezTo>
                        <a:pt x="51" y="444"/>
                        <a:pt x="63" y="440"/>
                        <a:pt x="64" y="431"/>
                      </a:cubicBezTo>
                      <a:cubicBezTo>
                        <a:pt x="64" y="431"/>
                        <a:pt x="76" y="434"/>
                        <a:pt x="73" y="417"/>
                      </a:cubicBezTo>
                      <a:cubicBezTo>
                        <a:pt x="73" y="417"/>
                        <a:pt x="65" y="404"/>
                        <a:pt x="89" y="402"/>
                      </a:cubicBezTo>
                      <a:cubicBezTo>
                        <a:pt x="89" y="402"/>
                        <a:pt x="102" y="401"/>
                        <a:pt x="100" y="390"/>
                      </a:cubicBezTo>
                      <a:cubicBezTo>
                        <a:pt x="100" y="390"/>
                        <a:pt x="93" y="382"/>
                        <a:pt x="103" y="375"/>
                      </a:cubicBezTo>
                      <a:cubicBezTo>
                        <a:pt x="103" y="375"/>
                        <a:pt x="117" y="366"/>
                        <a:pt x="103" y="358"/>
                      </a:cubicBezTo>
                      <a:cubicBezTo>
                        <a:pt x="103" y="358"/>
                        <a:pt x="97" y="357"/>
                        <a:pt x="97" y="347"/>
                      </a:cubicBezTo>
                      <a:cubicBezTo>
                        <a:pt x="97" y="347"/>
                        <a:pt x="105" y="342"/>
                        <a:pt x="97" y="330"/>
                      </a:cubicBezTo>
                      <a:cubicBezTo>
                        <a:pt x="97" y="330"/>
                        <a:pt x="93" y="319"/>
                        <a:pt x="108" y="310"/>
                      </a:cubicBezTo>
                      <a:cubicBezTo>
                        <a:pt x="108" y="310"/>
                        <a:pt x="118" y="310"/>
                        <a:pt x="124" y="303"/>
                      </a:cubicBezTo>
                      <a:cubicBezTo>
                        <a:pt x="124" y="303"/>
                        <a:pt x="135" y="294"/>
                        <a:pt x="135" y="320"/>
                      </a:cubicBezTo>
                      <a:cubicBezTo>
                        <a:pt x="128" y="337"/>
                        <a:pt x="145" y="331"/>
                        <a:pt x="143" y="324"/>
                      </a:cubicBezTo>
                      <a:cubicBezTo>
                        <a:pt x="143" y="324"/>
                        <a:pt x="145" y="310"/>
                        <a:pt x="150" y="319"/>
                      </a:cubicBezTo>
                      <a:cubicBezTo>
                        <a:pt x="150" y="319"/>
                        <a:pt x="152" y="324"/>
                        <a:pt x="161" y="316"/>
                      </a:cubicBezTo>
                      <a:cubicBezTo>
                        <a:pt x="168" y="306"/>
                        <a:pt x="166" y="324"/>
                        <a:pt x="178" y="324"/>
                      </a:cubicBezTo>
                      <a:cubicBezTo>
                        <a:pt x="178" y="337"/>
                        <a:pt x="191" y="337"/>
                        <a:pt x="191" y="326"/>
                      </a:cubicBezTo>
                      <a:cubicBezTo>
                        <a:pt x="191" y="326"/>
                        <a:pt x="202" y="310"/>
                        <a:pt x="210" y="331"/>
                      </a:cubicBezTo>
                      <a:cubicBezTo>
                        <a:pt x="210" y="331"/>
                        <a:pt x="210" y="348"/>
                        <a:pt x="220" y="332"/>
                      </a:cubicBezTo>
                      <a:cubicBezTo>
                        <a:pt x="220" y="332"/>
                        <a:pt x="244" y="335"/>
                        <a:pt x="248" y="330"/>
                      </a:cubicBezTo>
                      <a:cubicBezTo>
                        <a:pt x="248" y="330"/>
                        <a:pt x="241" y="318"/>
                        <a:pt x="234" y="320"/>
                      </a:cubicBezTo>
                      <a:cubicBezTo>
                        <a:pt x="232" y="312"/>
                        <a:pt x="216" y="309"/>
                        <a:pt x="219" y="303"/>
                      </a:cubicBezTo>
                      <a:cubicBezTo>
                        <a:pt x="219" y="303"/>
                        <a:pt x="229" y="304"/>
                        <a:pt x="226" y="286"/>
                      </a:cubicBezTo>
                      <a:cubicBezTo>
                        <a:pt x="226" y="286"/>
                        <a:pt x="230" y="271"/>
                        <a:pt x="226" y="265"/>
                      </a:cubicBezTo>
                      <a:cubicBezTo>
                        <a:pt x="226" y="265"/>
                        <a:pt x="230" y="248"/>
                        <a:pt x="201" y="243"/>
                      </a:cubicBezTo>
                      <a:cubicBezTo>
                        <a:pt x="193" y="231"/>
                        <a:pt x="186" y="236"/>
                        <a:pt x="183" y="226"/>
                      </a:cubicBezTo>
                      <a:cubicBezTo>
                        <a:pt x="183" y="226"/>
                        <a:pt x="183" y="226"/>
                        <a:pt x="183" y="226"/>
                      </a:cubicBezTo>
                      <a:cubicBezTo>
                        <a:pt x="185" y="206"/>
                        <a:pt x="185" y="206"/>
                        <a:pt x="185" y="206"/>
                      </a:cubicBezTo>
                      <a:cubicBezTo>
                        <a:pt x="185" y="206"/>
                        <a:pt x="185" y="206"/>
                        <a:pt x="185" y="206"/>
                      </a:cubicBezTo>
                      <a:cubicBezTo>
                        <a:pt x="185" y="206"/>
                        <a:pt x="165" y="201"/>
                        <a:pt x="174" y="197"/>
                      </a:cubicBezTo>
                      <a:cubicBezTo>
                        <a:pt x="183" y="198"/>
                        <a:pt x="175" y="179"/>
                        <a:pt x="181" y="175"/>
                      </a:cubicBezTo>
                      <a:cubicBezTo>
                        <a:pt x="181" y="175"/>
                        <a:pt x="189" y="153"/>
                        <a:pt x="172" y="158"/>
                      </a:cubicBezTo>
                      <a:cubicBezTo>
                        <a:pt x="172" y="166"/>
                        <a:pt x="156" y="174"/>
                        <a:pt x="155" y="156"/>
                      </a:cubicBezTo>
                      <a:cubicBezTo>
                        <a:pt x="155" y="156"/>
                        <a:pt x="151" y="137"/>
                        <a:pt x="132" y="138"/>
                      </a:cubicBezTo>
                      <a:cubicBezTo>
                        <a:pt x="132" y="138"/>
                        <a:pt x="125" y="132"/>
                        <a:pt x="128" y="115"/>
                      </a:cubicBezTo>
                      <a:cubicBezTo>
                        <a:pt x="128" y="115"/>
                        <a:pt x="139" y="108"/>
                        <a:pt x="135" y="96"/>
                      </a:cubicBezTo>
                      <a:cubicBezTo>
                        <a:pt x="135" y="96"/>
                        <a:pt x="134" y="86"/>
                        <a:pt x="139" y="84"/>
                      </a:cubicBezTo>
                      <a:cubicBezTo>
                        <a:pt x="139" y="84"/>
                        <a:pt x="148" y="80"/>
                        <a:pt x="138" y="71"/>
                      </a:cubicBezTo>
                      <a:cubicBezTo>
                        <a:pt x="135" y="64"/>
                        <a:pt x="150" y="70"/>
                        <a:pt x="135" y="49"/>
                      </a:cubicBezTo>
                      <a:cubicBezTo>
                        <a:pt x="135" y="49"/>
                        <a:pt x="133" y="33"/>
                        <a:pt x="120" y="41"/>
                      </a:cubicBezTo>
                      <a:cubicBezTo>
                        <a:pt x="120" y="41"/>
                        <a:pt x="118" y="60"/>
                        <a:pt x="101" y="35"/>
                      </a:cubicBezTo>
                      <a:cubicBezTo>
                        <a:pt x="101" y="35"/>
                        <a:pt x="101" y="35"/>
                        <a:pt x="101" y="35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7" name="Freeform 38"/>
                <p:cNvSpPr>
                  <a:spLocks/>
                </p:cNvSpPr>
                <p:nvPr/>
              </p:nvSpPr>
              <p:spPr bwMode="auto">
                <a:xfrm>
                  <a:off x="3052766" y="4047882"/>
                  <a:ext cx="1038509" cy="760638"/>
                </a:xfrm>
                <a:custGeom>
                  <a:avLst/>
                  <a:gdLst/>
                  <a:ahLst/>
                  <a:cxnLst>
                    <a:cxn ang="0">
                      <a:pos x="121" y="277"/>
                    </a:cxn>
                    <a:cxn ang="0">
                      <a:pos x="107" y="244"/>
                    </a:cxn>
                    <a:cxn ang="0">
                      <a:pos x="136" y="211"/>
                    </a:cxn>
                    <a:cxn ang="0">
                      <a:pos x="107" y="184"/>
                    </a:cxn>
                    <a:cxn ang="0">
                      <a:pos x="81" y="150"/>
                    </a:cxn>
                    <a:cxn ang="0">
                      <a:pos x="52" y="118"/>
                    </a:cxn>
                    <a:cxn ang="0">
                      <a:pos x="20" y="85"/>
                    </a:cxn>
                    <a:cxn ang="0">
                      <a:pos x="13" y="31"/>
                    </a:cxn>
                    <a:cxn ang="0">
                      <a:pos x="48" y="20"/>
                    </a:cxn>
                    <a:cxn ang="0">
                      <a:pos x="96" y="16"/>
                    </a:cxn>
                    <a:cxn ang="0">
                      <a:pos x="147" y="28"/>
                    </a:cxn>
                    <a:cxn ang="0">
                      <a:pos x="182" y="31"/>
                    </a:cxn>
                    <a:cxn ang="0">
                      <a:pos x="198" y="59"/>
                    </a:cxn>
                    <a:cxn ang="0">
                      <a:pos x="217" y="86"/>
                    </a:cxn>
                    <a:cxn ang="0">
                      <a:pos x="249" y="86"/>
                    </a:cxn>
                    <a:cxn ang="0">
                      <a:pos x="303" y="68"/>
                    </a:cxn>
                    <a:cxn ang="0">
                      <a:pos x="348" y="46"/>
                    </a:cxn>
                    <a:cxn ang="0">
                      <a:pos x="352" y="75"/>
                    </a:cxn>
                    <a:cxn ang="0">
                      <a:pos x="348" y="110"/>
                    </a:cxn>
                    <a:cxn ang="0">
                      <a:pos x="361" y="140"/>
                    </a:cxn>
                    <a:cxn ang="0">
                      <a:pos x="348" y="156"/>
                    </a:cxn>
                    <a:cxn ang="0">
                      <a:pos x="362" y="181"/>
                    </a:cxn>
                    <a:cxn ang="0">
                      <a:pos x="340" y="215"/>
                    </a:cxn>
                    <a:cxn ang="0">
                      <a:pos x="341" y="233"/>
                    </a:cxn>
                    <a:cxn ang="0">
                      <a:pos x="327" y="250"/>
                    </a:cxn>
                    <a:cxn ang="0">
                      <a:pos x="312" y="258"/>
                    </a:cxn>
                    <a:cxn ang="0">
                      <a:pos x="269" y="266"/>
                    </a:cxn>
                    <a:cxn ang="0">
                      <a:pos x="224" y="280"/>
                    </a:cxn>
                    <a:cxn ang="0">
                      <a:pos x="214" y="273"/>
                    </a:cxn>
                    <a:cxn ang="0">
                      <a:pos x="191" y="294"/>
                    </a:cxn>
                    <a:cxn ang="0">
                      <a:pos x="166" y="299"/>
                    </a:cxn>
                    <a:cxn ang="0">
                      <a:pos x="174" y="274"/>
                    </a:cxn>
                    <a:cxn ang="0">
                      <a:pos x="127" y="294"/>
                    </a:cxn>
                  </a:cxnLst>
                  <a:rect l="0" t="0" r="r" b="b"/>
                  <a:pathLst>
                    <a:path w="367" h="304">
                      <a:moveTo>
                        <a:pt x="127" y="294"/>
                      </a:moveTo>
                      <a:cubicBezTo>
                        <a:pt x="127" y="294"/>
                        <a:pt x="118" y="294"/>
                        <a:pt x="121" y="277"/>
                      </a:cubicBezTo>
                      <a:cubicBezTo>
                        <a:pt x="121" y="277"/>
                        <a:pt x="124" y="263"/>
                        <a:pt x="114" y="255"/>
                      </a:cubicBezTo>
                      <a:cubicBezTo>
                        <a:pt x="114" y="255"/>
                        <a:pt x="104" y="251"/>
                        <a:pt x="107" y="244"/>
                      </a:cubicBezTo>
                      <a:cubicBezTo>
                        <a:pt x="107" y="244"/>
                        <a:pt x="101" y="236"/>
                        <a:pt x="121" y="236"/>
                      </a:cubicBezTo>
                      <a:cubicBezTo>
                        <a:pt x="121" y="236"/>
                        <a:pt x="149" y="233"/>
                        <a:pt x="136" y="211"/>
                      </a:cubicBezTo>
                      <a:cubicBezTo>
                        <a:pt x="135" y="204"/>
                        <a:pt x="117" y="204"/>
                        <a:pt x="116" y="198"/>
                      </a:cubicBezTo>
                      <a:cubicBezTo>
                        <a:pt x="114" y="195"/>
                        <a:pt x="132" y="180"/>
                        <a:pt x="107" y="184"/>
                      </a:cubicBezTo>
                      <a:cubicBezTo>
                        <a:pt x="107" y="184"/>
                        <a:pt x="87" y="186"/>
                        <a:pt x="85" y="174"/>
                      </a:cubicBezTo>
                      <a:cubicBezTo>
                        <a:pt x="85" y="174"/>
                        <a:pt x="80" y="160"/>
                        <a:pt x="81" y="150"/>
                      </a:cubicBezTo>
                      <a:cubicBezTo>
                        <a:pt x="81" y="150"/>
                        <a:pt x="92" y="141"/>
                        <a:pt x="79" y="126"/>
                      </a:cubicBezTo>
                      <a:cubicBezTo>
                        <a:pt x="79" y="112"/>
                        <a:pt x="69" y="120"/>
                        <a:pt x="52" y="118"/>
                      </a:cubicBezTo>
                      <a:cubicBezTo>
                        <a:pt x="52" y="118"/>
                        <a:pt x="26" y="126"/>
                        <a:pt x="29" y="101"/>
                      </a:cubicBezTo>
                      <a:cubicBezTo>
                        <a:pt x="29" y="101"/>
                        <a:pt x="30" y="84"/>
                        <a:pt x="20" y="85"/>
                      </a:cubicBezTo>
                      <a:cubicBezTo>
                        <a:pt x="20" y="85"/>
                        <a:pt x="22" y="61"/>
                        <a:pt x="12" y="55"/>
                      </a:cubicBezTo>
                      <a:cubicBezTo>
                        <a:pt x="12" y="55"/>
                        <a:pt x="0" y="40"/>
                        <a:pt x="13" y="31"/>
                      </a:cubicBezTo>
                      <a:cubicBezTo>
                        <a:pt x="13" y="31"/>
                        <a:pt x="22" y="33"/>
                        <a:pt x="18" y="24"/>
                      </a:cubicBezTo>
                      <a:cubicBezTo>
                        <a:pt x="28" y="12"/>
                        <a:pt x="48" y="20"/>
                        <a:pt x="48" y="20"/>
                      </a:cubicBezTo>
                      <a:cubicBezTo>
                        <a:pt x="54" y="27"/>
                        <a:pt x="57" y="18"/>
                        <a:pt x="64" y="19"/>
                      </a:cubicBezTo>
                      <a:cubicBezTo>
                        <a:pt x="88" y="12"/>
                        <a:pt x="87" y="29"/>
                        <a:pt x="96" y="16"/>
                      </a:cubicBezTo>
                      <a:cubicBezTo>
                        <a:pt x="118" y="0"/>
                        <a:pt x="126" y="20"/>
                        <a:pt x="126" y="20"/>
                      </a:cubicBezTo>
                      <a:cubicBezTo>
                        <a:pt x="129" y="33"/>
                        <a:pt x="147" y="28"/>
                        <a:pt x="147" y="28"/>
                      </a:cubicBezTo>
                      <a:cubicBezTo>
                        <a:pt x="168" y="25"/>
                        <a:pt x="163" y="38"/>
                        <a:pt x="163" y="38"/>
                      </a:cubicBezTo>
                      <a:cubicBezTo>
                        <a:pt x="177" y="23"/>
                        <a:pt x="182" y="31"/>
                        <a:pt x="182" y="31"/>
                      </a:cubicBezTo>
                      <a:cubicBezTo>
                        <a:pt x="204" y="33"/>
                        <a:pt x="191" y="44"/>
                        <a:pt x="191" y="44"/>
                      </a:cubicBezTo>
                      <a:cubicBezTo>
                        <a:pt x="180" y="47"/>
                        <a:pt x="198" y="59"/>
                        <a:pt x="198" y="59"/>
                      </a:cubicBezTo>
                      <a:cubicBezTo>
                        <a:pt x="208" y="63"/>
                        <a:pt x="208" y="75"/>
                        <a:pt x="208" y="75"/>
                      </a:cubicBezTo>
                      <a:cubicBezTo>
                        <a:pt x="200" y="92"/>
                        <a:pt x="217" y="86"/>
                        <a:pt x="217" y="86"/>
                      </a:cubicBezTo>
                      <a:cubicBezTo>
                        <a:pt x="227" y="76"/>
                        <a:pt x="234" y="90"/>
                        <a:pt x="234" y="90"/>
                      </a:cubicBezTo>
                      <a:cubicBezTo>
                        <a:pt x="237" y="104"/>
                        <a:pt x="249" y="86"/>
                        <a:pt x="249" y="86"/>
                      </a:cubicBezTo>
                      <a:cubicBezTo>
                        <a:pt x="255" y="72"/>
                        <a:pt x="273" y="86"/>
                        <a:pt x="273" y="86"/>
                      </a:cubicBezTo>
                      <a:cubicBezTo>
                        <a:pt x="310" y="92"/>
                        <a:pt x="303" y="68"/>
                        <a:pt x="303" y="68"/>
                      </a:cubicBezTo>
                      <a:cubicBezTo>
                        <a:pt x="303" y="42"/>
                        <a:pt x="320" y="50"/>
                        <a:pt x="320" y="50"/>
                      </a:cubicBezTo>
                      <a:cubicBezTo>
                        <a:pt x="334" y="55"/>
                        <a:pt x="330" y="28"/>
                        <a:pt x="348" y="46"/>
                      </a:cubicBezTo>
                      <a:cubicBezTo>
                        <a:pt x="348" y="46"/>
                        <a:pt x="345" y="53"/>
                        <a:pt x="349" y="60"/>
                      </a:cubicBezTo>
                      <a:cubicBezTo>
                        <a:pt x="349" y="60"/>
                        <a:pt x="356" y="64"/>
                        <a:pt x="352" y="75"/>
                      </a:cubicBezTo>
                      <a:cubicBezTo>
                        <a:pt x="352" y="75"/>
                        <a:pt x="358" y="91"/>
                        <a:pt x="351" y="96"/>
                      </a:cubicBezTo>
                      <a:cubicBezTo>
                        <a:pt x="351" y="96"/>
                        <a:pt x="337" y="94"/>
                        <a:pt x="348" y="110"/>
                      </a:cubicBezTo>
                      <a:cubicBezTo>
                        <a:pt x="348" y="110"/>
                        <a:pt x="343" y="119"/>
                        <a:pt x="357" y="123"/>
                      </a:cubicBezTo>
                      <a:cubicBezTo>
                        <a:pt x="356" y="132"/>
                        <a:pt x="365" y="133"/>
                        <a:pt x="361" y="140"/>
                      </a:cubicBezTo>
                      <a:cubicBezTo>
                        <a:pt x="361" y="140"/>
                        <a:pt x="367" y="154"/>
                        <a:pt x="353" y="149"/>
                      </a:cubicBezTo>
                      <a:cubicBezTo>
                        <a:pt x="353" y="149"/>
                        <a:pt x="348" y="150"/>
                        <a:pt x="348" y="156"/>
                      </a:cubicBezTo>
                      <a:cubicBezTo>
                        <a:pt x="348" y="156"/>
                        <a:pt x="360" y="157"/>
                        <a:pt x="361" y="161"/>
                      </a:cubicBezTo>
                      <a:cubicBezTo>
                        <a:pt x="361" y="161"/>
                        <a:pt x="363" y="171"/>
                        <a:pt x="362" y="181"/>
                      </a:cubicBezTo>
                      <a:cubicBezTo>
                        <a:pt x="362" y="181"/>
                        <a:pt x="367" y="194"/>
                        <a:pt x="348" y="196"/>
                      </a:cubicBezTo>
                      <a:cubicBezTo>
                        <a:pt x="348" y="196"/>
                        <a:pt x="334" y="202"/>
                        <a:pt x="340" y="215"/>
                      </a:cubicBezTo>
                      <a:cubicBezTo>
                        <a:pt x="338" y="218"/>
                        <a:pt x="356" y="218"/>
                        <a:pt x="356" y="225"/>
                      </a:cubicBezTo>
                      <a:cubicBezTo>
                        <a:pt x="357" y="237"/>
                        <a:pt x="338" y="225"/>
                        <a:pt x="341" y="233"/>
                      </a:cubicBezTo>
                      <a:cubicBezTo>
                        <a:pt x="341" y="233"/>
                        <a:pt x="351" y="236"/>
                        <a:pt x="346" y="240"/>
                      </a:cubicBezTo>
                      <a:cubicBezTo>
                        <a:pt x="346" y="240"/>
                        <a:pt x="340" y="247"/>
                        <a:pt x="327" y="250"/>
                      </a:cubicBezTo>
                      <a:cubicBezTo>
                        <a:pt x="327" y="250"/>
                        <a:pt x="348" y="252"/>
                        <a:pt x="331" y="257"/>
                      </a:cubicBezTo>
                      <a:cubicBezTo>
                        <a:pt x="331" y="257"/>
                        <a:pt x="317" y="263"/>
                        <a:pt x="312" y="258"/>
                      </a:cubicBezTo>
                      <a:cubicBezTo>
                        <a:pt x="312" y="258"/>
                        <a:pt x="295" y="249"/>
                        <a:pt x="290" y="262"/>
                      </a:cubicBezTo>
                      <a:cubicBezTo>
                        <a:pt x="280" y="266"/>
                        <a:pt x="273" y="253"/>
                        <a:pt x="269" y="266"/>
                      </a:cubicBezTo>
                      <a:cubicBezTo>
                        <a:pt x="269" y="266"/>
                        <a:pt x="257" y="258"/>
                        <a:pt x="246" y="277"/>
                      </a:cubicBezTo>
                      <a:cubicBezTo>
                        <a:pt x="246" y="277"/>
                        <a:pt x="227" y="275"/>
                        <a:pt x="224" y="280"/>
                      </a:cubicBezTo>
                      <a:cubicBezTo>
                        <a:pt x="218" y="257"/>
                        <a:pt x="229" y="240"/>
                        <a:pt x="229" y="240"/>
                      </a:cubicBezTo>
                      <a:cubicBezTo>
                        <a:pt x="209" y="264"/>
                        <a:pt x="214" y="273"/>
                        <a:pt x="214" y="273"/>
                      </a:cubicBezTo>
                      <a:cubicBezTo>
                        <a:pt x="222" y="304"/>
                        <a:pt x="210" y="300"/>
                        <a:pt x="210" y="300"/>
                      </a:cubicBezTo>
                      <a:cubicBezTo>
                        <a:pt x="204" y="302"/>
                        <a:pt x="191" y="294"/>
                        <a:pt x="191" y="294"/>
                      </a:cubicBezTo>
                      <a:cubicBezTo>
                        <a:pt x="180" y="298"/>
                        <a:pt x="166" y="299"/>
                        <a:pt x="166" y="299"/>
                      </a:cubicBezTo>
                      <a:cubicBezTo>
                        <a:pt x="166" y="299"/>
                        <a:pt x="166" y="299"/>
                        <a:pt x="166" y="299"/>
                      </a:cubicBezTo>
                      <a:cubicBezTo>
                        <a:pt x="174" y="274"/>
                        <a:pt x="174" y="274"/>
                        <a:pt x="174" y="274"/>
                      </a:cubicBezTo>
                      <a:cubicBezTo>
                        <a:pt x="174" y="274"/>
                        <a:pt x="174" y="274"/>
                        <a:pt x="174" y="274"/>
                      </a:cubicBezTo>
                      <a:cubicBezTo>
                        <a:pt x="165" y="292"/>
                        <a:pt x="152" y="301"/>
                        <a:pt x="152" y="301"/>
                      </a:cubicBezTo>
                      <a:cubicBezTo>
                        <a:pt x="142" y="304"/>
                        <a:pt x="127" y="294"/>
                        <a:pt x="127" y="294"/>
                      </a:cubicBezTo>
                      <a:cubicBezTo>
                        <a:pt x="127" y="294"/>
                        <a:pt x="127" y="294"/>
                        <a:pt x="127" y="294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8" name="Freeform 37"/>
                <p:cNvSpPr>
                  <a:spLocks/>
                </p:cNvSpPr>
                <p:nvPr/>
              </p:nvSpPr>
              <p:spPr bwMode="auto">
                <a:xfrm>
                  <a:off x="4460129" y="4053248"/>
                  <a:ext cx="1052119" cy="859910"/>
                </a:xfrm>
                <a:custGeom>
                  <a:avLst/>
                  <a:gdLst/>
                  <a:ahLst/>
                  <a:cxnLst>
                    <a:cxn ang="0">
                      <a:pos x="15" y="128"/>
                    </a:cxn>
                    <a:cxn ang="0">
                      <a:pos x="60" y="117"/>
                    </a:cxn>
                    <a:cxn ang="0">
                      <a:pos x="82" y="106"/>
                    </a:cxn>
                    <a:cxn ang="0">
                      <a:pos x="79" y="66"/>
                    </a:cxn>
                    <a:cxn ang="0">
                      <a:pos x="78" y="43"/>
                    </a:cxn>
                    <a:cxn ang="0">
                      <a:pos x="69" y="25"/>
                    </a:cxn>
                    <a:cxn ang="0">
                      <a:pos x="102" y="11"/>
                    </a:cxn>
                    <a:cxn ang="0">
                      <a:pos x="112" y="11"/>
                    </a:cxn>
                    <a:cxn ang="0">
                      <a:pos x="157" y="11"/>
                    </a:cxn>
                    <a:cxn ang="0">
                      <a:pos x="194" y="15"/>
                    </a:cxn>
                    <a:cxn ang="0">
                      <a:pos x="214" y="15"/>
                    </a:cxn>
                    <a:cxn ang="0">
                      <a:pos x="222" y="48"/>
                    </a:cxn>
                    <a:cxn ang="0">
                      <a:pos x="245" y="55"/>
                    </a:cxn>
                    <a:cxn ang="0">
                      <a:pos x="269" y="53"/>
                    </a:cxn>
                    <a:cxn ang="0">
                      <a:pos x="290" y="59"/>
                    </a:cxn>
                    <a:cxn ang="0">
                      <a:pos x="308" y="89"/>
                    </a:cxn>
                    <a:cxn ang="0">
                      <a:pos x="338" y="100"/>
                    </a:cxn>
                    <a:cxn ang="0">
                      <a:pos x="366" y="121"/>
                    </a:cxn>
                    <a:cxn ang="0">
                      <a:pos x="354" y="135"/>
                    </a:cxn>
                    <a:cxn ang="0">
                      <a:pos x="334" y="154"/>
                    </a:cxn>
                    <a:cxn ang="0">
                      <a:pos x="347" y="186"/>
                    </a:cxn>
                    <a:cxn ang="0">
                      <a:pos x="358" y="204"/>
                    </a:cxn>
                    <a:cxn ang="0">
                      <a:pos x="328" y="245"/>
                    </a:cxn>
                    <a:cxn ang="0">
                      <a:pos x="234" y="267"/>
                    </a:cxn>
                    <a:cxn ang="0">
                      <a:pos x="178" y="309"/>
                    </a:cxn>
                    <a:cxn ang="0">
                      <a:pos x="152" y="333"/>
                    </a:cxn>
                    <a:cxn ang="0">
                      <a:pos x="145" y="322"/>
                    </a:cxn>
                    <a:cxn ang="0">
                      <a:pos x="125" y="343"/>
                    </a:cxn>
                    <a:cxn ang="0">
                      <a:pos x="101" y="311"/>
                    </a:cxn>
                    <a:cxn ang="0">
                      <a:pos x="72" y="287"/>
                    </a:cxn>
                    <a:cxn ang="0">
                      <a:pos x="65" y="264"/>
                    </a:cxn>
                    <a:cxn ang="0">
                      <a:pos x="70" y="237"/>
                    </a:cxn>
                    <a:cxn ang="0">
                      <a:pos x="50" y="220"/>
                    </a:cxn>
                    <a:cxn ang="0">
                      <a:pos x="37" y="176"/>
                    </a:cxn>
                    <a:cxn ang="0">
                      <a:pos x="9" y="158"/>
                    </a:cxn>
                    <a:cxn ang="0">
                      <a:pos x="0" y="133"/>
                    </a:cxn>
                  </a:cxnLst>
                  <a:rect l="0" t="0" r="r" b="b"/>
                  <a:pathLst>
                    <a:path w="372" h="344">
                      <a:moveTo>
                        <a:pt x="0" y="133"/>
                      </a:moveTo>
                      <a:cubicBezTo>
                        <a:pt x="0" y="133"/>
                        <a:pt x="5" y="128"/>
                        <a:pt x="15" y="128"/>
                      </a:cubicBezTo>
                      <a:cubicBezTo>
                        <a:pt x="15" y="128"/>
                        <a:pt x="27" y="125"/>
                        <a:pt x="32" y="119"/>
                      </a:cubicBezTo>
                      <a:cubicBezTo>
                        <a:pt x="32" y="119"/>
                        <a:pt x="43" y="110"/>
                        <a:pt x="60" y="117"/>
                      </a:cubicBezTo>
                      <a:cubicBezTo>
                        <a:pt x="60" y="117"/>
                        <a:pt x="61" y="122"/>
                        <a:pt x="77" y="121"/>
                      </a:cubicBezTo>
                      <a:cubicBezTo>
                        <a:pt x="77" y="121"/>
                        <a:pt x="86" y="124"/>
                        <a:pt x="82" y="106"/>
                      </a:cubicBezTo>
                      <a:cubicBezTo>
                        <a:pt x="82" y="106"/>
                        <a:pt x="82" y="96"/>
                        <a:pt x="84" y="92"/>
                      </a:cubicBezTo>
                      <a:cubicBezTo>
                        <a:pt x="93" y="80"/>
                        <a:pt x="75" y="86"/>
                        <a:pt x="79" y="66"/>
                      </a:cubicBezTo>
                      <a:cubicBezTo>
                        <a:pt x="79" y="66"/>
                        <a:pt x="67" y="59"/>
                        <a:pt x="67" y="55"/>
                      </a:cubicBezTo>
                      <a:cubicBezTo>
                        <a:pt x="67" y="45"/>
                        <a:pt x="85" y="46"/>
                        <a:pt x="78" y="43"/>
                      </a:cubicBezTo>
                      <a:cubicBezTo>
                        <a:pt x="78" y="43"/>
                        <a:pt x="72" y="34"/>
                        <a:pt x="65" y="34"/>
                      </a:cubicBezTo>
                      <a:cubicBezTo>
                        <a:pt x="65" y="34"/>
                        <a:pt x="71" y="29"/>
                        <a:pt x="69" y="25"/>
                      </a:cubicBezTo>
                      <a:cubicBezTo>
                        <a:pt x="69" y="25"/>
                        <a:pt x="68" y="16"/>
                        <a:pt x="86" y="18"/>
                      </a:cubicBezTo>
                      <a:cubicBezTo>
                        <a:pt x="86" y="18"/>
                        <a:pt x="89" y="7"/>
                        <a:pt x="102" y="11"/>
                      </a:cubicBezTo>
                      <a:cubicBezTo>
                        <a:pt x="104" y="10"/>
                        <a:pt x="105" y="9"/>
                        <a:pt x="107" y="10"/>
                      </a:cubicBezTo>
                      <a:cubicBezTo>
                        <a:pt x="109" y="11"/>
                        <a:pt x="110" y="12"/>
                        <a:pt x="112" y="11"/>
                      </a:cubicBezTo>
                      <a:cubicBezTo>
                        <a:pt x="112" y="11"/>
                        <a:pt x="119" y="7"/>
                        <a:pt x="137" y="11"/>
                      </a:cubicBezTo>
                      <a:cubicBezTo>
                        <a:pt x="137" y="11"/>
                        <a:pt x="146" y="18"/>
                        <a:pt x="157" y="11"/>
                      </a:cubicBezTo>
                      <a:cubicBezTo>
                        <a:pt x="157" y="11"/>
                        <a:pt x="167" y="0"/>
                        <a:pt x="177" y="9"/>
                      </a:cubicBezTo>
                      <a:cubicBezTo>
                        <a:pt x="177" y="9"/>
                        <a:pt x="183" y="15"/>
                        <a:pt x="194" y="15"/>
                      </a:cubicBezTo>
                      <a:cubicBezTo>
                        <a:pt x="194" y="15"/>
                        <a:pt x="205" y="5"/>
                        <a:pt x="206" y="18"/>
                      </a:cubicBezTo>
                      <a:cubicBezTo>
                        <a:pt x="206" y="18"/>
                        <a:pt x="209" y="24"/>
                        <a:pt x="214" y="15"/>
                      </a:cubicBezTo>
                      <a:cubicBezTo>
                        <a:pt x="214" y="15"/>
                        <a:pt x="210" y="22"/>
                        <a:pt x="219" y="34"/>
                      </a:cubicBezTo>
                      <a:cubicBezTo>
                        <a:pt x="219" y="34"/>
                        <a:pt x="236" y="38"/>
                        <a:pt x="222" y="48"/>
                      </a:cubicBezTo>
                      <a:cubicBezTo>
                        <a:pt x="222" y="48"/>
                        <a:pt x="222" y="57"/>
                        <a:pt x="233" y="52"/>
                      </a:cubicBezTo>
                      <a:cubicBezTo>
                        <a:pt x="233" y="52"/>
                        <a:pt x="235" y="45"/>
                        <a:pt x="245" y="55"/>
                      </a:cubicBezTo>
                      <a:cubicBezTo>
                        <a:pt x="245" y="55"/>
                        <a:pt x="245" y="62"/>
                        <a:pt x="257" y="52"/>
                      </a:cubicBezTo>
                      <a:cubicBezTo>
                        <a:pt x="257" y="52"/>
                        <a:pt x="265" y="58"/>
                        <a:pt x="269" y="53"/>
                      </a:cubicBezTo>
                      <a:cubicBezTo>
                        <a:pt x="269" y="53"/>
                        <a:pt x="273" y="47"/>
                        <a:pt x="283" y="51"/>
                      </a:cubicBezTo>
                      <a:cubicBezTo>
                        <a:pt x="284" y="61"/>
                        <a:pt x="290" y="59"/>
                        <a:pt x="290" y="59"/>
                      </a:cubicBezTo>
                      <a:cubicBezTo>
                        <a:pt x="297" y="59"/>
                        <a:pt x="298" y="70"/>
                        <a:pt x="298" y="70"/>
                      </a:cubicBezTo>
                      <a:cubicBezTo>
                        <a:pt x="302" y="78"/>
                        <a:pt x="308" y="89"/>
                        <a:pt x="308" y="89"/>
                      </a:cubicBezTo>
                      <a:cubicBezTo>
                        <a:pt x="318" y="86"/>
                        <a:pt x="323" y="95"/>
                        <a:pt x="323" y="95"/>
                      </a:cubicBezTo>
                      <a:cubicBezTo>
                        <a:pt x="327" y="102"/>
                        <a:pt x="331" y="89"/>
                        <a:pt x="338" y="100"/>
                      </a:cubicBezTo>
                      <a:cubicBezTo>
                        <a:pt x="346" y="101"/>
                        <a:pt x="354" y="111"/>
                        <a:pt x="354" y="111"/>
                      </a:cubicBezTo>
                      <a:cubicBezTo>
                        <a:pt x="372" y="110"/>
                        <a:pt x="366" y="121"/>
                        <a:pt x="366" y="121"/>
                      </a:cubicBezTo>
                      <a:cubicBezTo>
                        <a:pt x="348" y="125"/>
                        <a:pt x="360" y="128"/>
                        <a:pt x="360" y="128"/>
                      </a:cubicBezTo>
                      <a:cubicBezTo>
                        <a:pt x="360" y="128"/>
                        <a:pt x="368" y="132"/>
                        <a:pt x="354" y="135"/>
                      </a:cubicBezTo>
                      <a:cubicBezTo>
                        <a:pt x="347" y="134"/>
                        <a:pt x="356" y="146"/>
                        <a:pt x="344" y="142"/>
                      </a:cubicBezTo>
                      <a:cubicBezTo>
                        <a:pt x="323" y="144"/>
                        <a:pt x="334" y="154"/>
                        <a:pt x="334" y="154"/>
                      </a:cubicBezTo>
                      <a:cubicBezTo>
                        <a:pt x="339" y="161"/>
                        <a:pt x="328" y="166"/>
                        <a:pt x="328" y="166"/>
                      </a:cubicBezTo>
                      <a:cubicBezTo>
                        <a:pt x="347" y="170"/>
                        <a:pt x="347" y="186"/>
                        <a:pt x="347" y="186"/>
                      </a:cubicBezTo>
                      <a:cubicBezTo>
                        <a:pt x="368" y="186"/>
                        <a:pt x="363" y="196"/>
                        <a:pt x="363" y="196"/>
                      </a:cubicBezTo>
                      <a:cubicBezTo>
                        <a:pt x="365" y="203"/>
                        <a:pt x="358" y="204"/>
                        <a:pt x="358" y="204"/>
                      </a:cubicBezTo>
                      <a:cubicBezTo>
                        <a:pt x="341" y="207"/>
                        <a:pt x="356" y="220"/>
                        <a:pt x="356" y="220"/>
                      </a:cubicBezTo>
                      <a:cubicBezTo>
                        <a:pt x="340" y="230"/>
                        <a:pt x="328" y="245"/>
                        <a:pt x="328" y="245"/>
                      </a:cubicBezTo>
                      <a:cubicBezTo>
                        <a:pt x="295" y="231"/>
                        <a:pt x="267" y="272"/>
                        <a:pt x="267" y="272"/>
                      </a:cubicBezTo>
                      <a:cubicBezTo>
                        <a:pt x="250" y="258"/>
                        <a:pt x="234" y="267"/>
                        <a:pt x="234" y="267"/>
                      </a:cubicBezTo>
                      <a:cubicBezTo>
                        <a:pt x="204" y="272"/>
                        <a:pt x="194" y="293"/>
                        <a:pt x="194" y="293"/>
                      </a:cubicBezTo>
                      <a:cubicBezTo>
                        <a:pt x="192" y="303"/>
                        <a:pt x="178" y="309"/>
                        <a:pt x="178" y="309"/>
                      </a:cubicBezTo>
                      <a:cubicBezTo>
                        <a:pt x="178" y="309"/>
                        <a:pt x="178" y="309"/>
                        <a:pt x="178" y="309"/>
                      </a:cubicBezTo>
                      <a:cubicBezTo>
                        <a:pt x="152" y="333"/>
                        <a:pt x="152" y="333"/>
                        <a:pt x="152" y="333"/>
                      </a:cubicBezTo>
                      <a:cubicBezTo>
                        <a:pt x="152" y="333"/>
                        <a:pt x="152" y="333"/>
                        <a:pt x="152" y="333"/>
                      </a:cubicBezTo>
                      <a:cubicBezTo>
                        <a:pt x="139" y="337"/>
                        <a:pt x="145" y="322"/>
                        <a:pt x="145" y="322"/>
                      </a:cubicBezTo>
                      <a:cubicBezTo>
                        <a:pt x="141" y="310"/>
                        <a:pt x="136" y="322"/>
                        <a:pt x="136" y="322"/>
                      </a:cubicBezTo>
                      <a:cubicBezTo>
                        <a:pt x="134" y="332"/>
                        <a:pt x="130" y="338"/>
                        <a:pt x="125" y="343"/>
                      </a:cubicBezTo>
                      <a:cubicBezTo>
                        <a:pt x="110" y="344"/>
                        <a:pt x="113" y="334"/>
                        <a:pt x="113" y="334"/>
                      </a:cubicBezTo>
                      <a:cubicBezTo>
                        <a:pt x="115" y="308"/>
                        <a:pt x="101" y="311"/>
                        <a:pt x="101" y="311"/>
                      </a:cubicBezTo>
                      <a:cubicBezTo>
                        <a:pt x="87" y="309"/>
                        <a:pt x="87" y="300"/>
                        <a:pt x="87" y="300"/>
                      </a:cubicBezTo>
                      <a:cubicBezTo>
                        <a:pt x="68" y="297"/>
                        <a:pt x="72" y="287"/>
                        <a:pt x="72" y="287"/>
                      </a:cubicBezTo>
                      <a:cubicBezTo>
                        <a:pt x="75" y="280"/>
                        <a:pt x="65" y="276"/>
                        <a:pt x="65" y="276"/>
                      </a:cubicBezTo>
                      <a:cubicBezTo>
                        <a:pt x="49" y="275"/>
                        <a:pt x="65" y="264"/>
                        <a:pt x="65" y="264"/>
                      </a:cubicBezTo>
                      <a:cubicBezTo>
                        <a:pt x="74" y="261"/>
                        <a:pt x="70" y="252"/>
                        <a:pt x="70" y="252"/>
                      </a:cubicBezTo>
                      <a:cubicBezTo>
                        <a:pt x="86" y="243"/>
                        <a:pt x="70" y="237"/>
                        <a:pt x="70" y="237"/>
                      </a:cubicBezTo>
                      <a:cubicBezTo>
                        <a:pt x="70" y="227"/>
                        <a:pt x="58" y="229"/>
                        <a:pt x="58" y="229"/>
                      </a:cubicBezTo>
                      <a:cubicBezTo>
                        <a:pt x="52" y="229"/>
                        <a:pt x="50" y="220"/>
                        <a:pt x="50" y="220"/>
                      </a:cubicBezTo>
                      <a:cubicBezTo>
                        <a:pt x="39" y="216"/>
                        <a:pt x="42" y="202"/>
                        <a:pt x="42" y="202"/>
                      </a:cubicBezTo>
                      <a:cubicBezTo>
                        <a:pt x="31" y="195"/>
                        <a:pt x="37" y="176"/>
                        <a:pt x="37" y="176"/>
                      </a:cubicBezTo>
                      <a:cubicBezTo>
                        <a:pt x="29" y="151"/>
                        <a:pt x="23" y="169"/>
                        <a:pt x="23" y="169"/>
                      </a:cubicBezTo>
                      <a:cubicBezTo>
                        <a:pt x="9" y="176"/>
                        <a:pt x="9" y="158"/>
                        <a:pt x="9" y="158"/>
                      </a:cubicBezTo>
                      <a:cubicBezTo>
                        <a:pt x="0" y="148"/>
                        <a:pt x="0" y="133"/>
                        <a:pt x="0" y="133"/>
                      </a:cubicBezTo>
                      <a:cubicBezTo>
                        <a:pt x="0" y="133"/>
                        <a:pt x="0" y="133"/>
                        <a:pt x="0" y="133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9" name="Freeform 36"/>
                <p:cNvSpPr>
                  <a:spLocks/>
                </p:cNvSpPr>
                <p:nvPr/>
              </p:nvSpPr>
              <p:spPr bwMode="auto">
                <a:xfrm>
                  <a:off x="3620338" y="4334966"/>
                  <a:ext cx="1193673" cy="729783"/>
                </a:xfrm>
                <a:custGeom>
                  <a:avLst/>
                  <a:gdLst/>
                  <a:ahLst/>
                  <a:cxnLst>
                    <a:cxn ang="0">
                      <a:pos x="45" y="162"/>
                    </a:cxn>
                    <a:cxn ang="0">
                      <a:pos x="89" y="147"/>
                    </a:cxn>
                    <a:cxn ang="0">
                      <a:pos x="130" y="142"/>
                    </a:cxn>
                    <a:cxn ang="0">
                      <a:pos x="145" y="125"/>
                    </a:cxn>
                    <a:cxn ang="0">
                      <a:pos x="155" y="110"/>
                    </a:cxn>
                    <a:cxn ang="0">
                      <a:pos x="147" y="81"/>
                    </a:cxn>
                    <a:cxn ang="0">
                      <a:pos x="160" y="46"/>
                    </a:cxn>
                    <a:cxn ang="0">
                      <a:pos x="152" y="34"/>
                    </a:cxn>
                    <a:cxn ang="0">
                      <a:pos x="156" y="8"/>
                    </a:cxn>
                    <a:cxn ang="0">
                      <a:pos x="182" y="15"/>
                    </a:cxn>
                    <a:cxn ang="0">
                      <a:pos x="202" y="14"/>
                    </a:cxn>
                    <a:cxn ang="0">
                      <a:pos x="246" y="19"/>
                    </a:cxn>
                    <a:cxn ang="0">
                      <a:pos x="272" y="20"/>
                    </a:cxn>
                    <a:cxn ang="0">
                      <a:pos x="305" y="45"/>
                    </a:cxn>
                    <a:cxn ang="0">
                      <a:pos x="333" y="63"/>
                    </a:cxn>
                    <a:cxn ang="0">
                      <a:pos x="346" y="107"/>
                    </a:cxn>
                    <a:cxn ang="0">
                      <a:pos x="366" y="124"/>
                    </a:cxn>
                    <a:cxn ang="0">
                      <a:pos x="361" y="151"/>
                    </a:cxn>
                    <a:cxn ang="0">
                      <a:pos x="368" y="174"/>
                    </a:cxn>
                    <a:cxn ang="0">
                      <a:pos x="397" y="198"/>
                    </a:cxn>
                    <a:cxn ang="0">
                      <a:pos x="421" y="230"/>
                    </a:cxn>
                    <a:cxn ang="0">
                      <a:pos x="386" y="261"/>
                    </a:cxn>
                    <a:cxn ang="0">
                      <a:pos x="360" y="258"/>
                    </a:cxn>
                    <a:cxn ang="0">
                      <a:pos x="316" y="249"/>
                    </a:cxn>
                    <a:cxn ang="0">
                      <a:pos x="291" y="252"/>
                    </a:cxn>
                    <a:cxn ang="0">
                      <a:pos x="277" y="248"/>
                    </a:cxn>
                    <a:cxn ang="0">
                      <a:pos x="250" y="252"/>
                    </a:cxn>
                    <a:cxn ang="0">
                      <a:pos x="234" y="253"/>
                    </a:cxn>
                    <a:cxn ang="0">
                      <a:pos x="227" y="275"/>
                    </a:cxn>
                    <a:cxn ang="0">
                      <a:pos x="184" y="253"/>
                    </a:cxn>
                    <a:cxn ang="0">
                      <a:pos x="126" y="272"/>
                    </a:cxn>
                    <a:cxn ang="0">
                      <a:pos x="63" y="261"/>
                    </a:cxn>
                    <a:cxn ang="0">
                      <a:pos x="16" y="244"/>
                    </a:cxn>
                    <a:cxn ang="0">
                      <a:pos x="0" y="237"/>
                    </a:cxn>
                    <a:cxn ang="0">
                      <a:pos x="20" y="233"/>
                    </a:cxn>
                    <a:cxn ang="0">
                      <a:pos x="16" y="211"/>
                    </a:cxn>
                    <a:cxn ang="0">
                      <a:pos x="9" y="198"/>
                    </a:cxn>
                    <a:cxn ang="0">
                      <a:pos x="46" y="203"/>
                    </a:cxn>
                    <a:cxn ang="0">
                      <a:pos x="71" y="199"/>
                    </a:cxn>
                    <a:cxn ang="0">
                      <a:pos x="82" y="196"/>
                    </a:cxn>
                    <a:cxn ang="0">
                      <a:pos x="62" y="187"/>
                    </a:cxn>
                    <a:cxn ang="0">
                      <a:pos x="41" y="187"/>
                    </a:cxn>
                    <a:cxn ang="0">
                      <a:pos x="23" y="165"/>
                    </a:cxn>
                  </a:cxnLst>
                  <a:rect l="0" t="0" r="r" b="b"/>
                  <a:pathLst>
                    <a:path w="421" h="292">
                      <a:moveTo>
                        <a:pt x="23" y="165"/>
                      </a:moveTo>
                      <a:cubicBezTo>
                        <a:pt x="26" y="160"/>
                        <a:pt x="45" y="162"/>
                        <a:pt x="45" y="162"/>
                      </a:cubicBezTo>
                      <a:cubicBezTo>
                        <a:pt x="56" y="143"/>
                        <a:pt x="68" y="151"/>
                        <a:pt x="68" y="151"/>
                      </a:cubicBezTo>
                      <a:cubicBezTo>
                        <a:pt x="72" y="138"/>
                        <a:pt x="79" y="151"/>
                        <a:pt x="89" y="147"/>
                      </a:cubicBezTo>
                      <a:cubicBezTo>
                        <a:pt x="94" y="134"/>
                        <a:pt x="111" y="143"/>
                        <a:pt x="111" y="143"/>
                      </a:cubicBezTo>
                      <a:cubicBezTo>
                        <a:pt x="116" y="148"/>
                        <a:pt x="130" y="142"/>
                        <a:pt x="130" y="142"/>
                      </a:cubicBezTo>
                      <a:cubicBezTo>
                        <a:pt x="147" y="137"/>
                        <a:pt x="126" y="135"/>
                        <a:pt x="126" y="135"/>
                      </a:cubicBezTo>
                      <a:cubicBezTo>
                        <a:pt x="139" y="132"/>
                        <a:pt x="145" y="125"/>
                        <a:pt x="145" y="125"/>
                      </a:cubicBezTo>
                      <a:cubicBezTo>
                        <a:pt x="150" y="121"/>
                        <a:pt x="140" y="118"/>
                        <a:pt x="140" y="118"/>
                      </a:cubicBezTo>
                      <a:cubicBezTo>
                        <a:pt x="137" y="110"/>
                        <a:pt x="156" y="122"/>
                        <a:pt x="155" y="110"/>
                      </a:cubicBezTo>
                      <a:cubicBezTo>
                        <a:pt x="155" y="103"/>
                        <a:pt x="137" y="103"/>
                        <a:pt x="139" y="100"/>
                      </a:cubicBezTo>
                      <a:cubicBezTo>
                        <a:pt x="133" y="87"/>
                        <a:pt x="147" y="81"/>
                        <a:pt x="147" y="81"/>
                      </a:cubicBezTo>
                      <a:cubicBezTo>
                        <a:pt x="166" y="79"/>
                        <a:pt x="161" y="66"/>
                        <a:pt x="161" y="66"/>
                      </a:cubicBezTo>
                      <a:cubicBezTo>
                        <a:pt x="162" y="56"/>
                        <a:pt x="160" y="46"/>
                        <a:pt x="160" y="46"/>
                      </a:cubicBezTo>
                      <a:cubicBezTo>
                        <a:pt x="159" y="42"/>
                        <a:pt x="147" y="41"/>
                        <a:pt x="147" y="41"/>
                      </a:cubicBezTo>
                      <a:cubicBezTo>
                        <a:pt x="147" y="35"/>
                        <a:pt x="152" y="34"/>
                        <a:pt x="152" y="34"/>
                      </a:cubicBezTo>
                      <a:cubicBezTo>
                        <a:pt x="166" y="39"/>
                        <a:pt x="160" y="25"/>
                        <a:pt x="160" y="25"/>
                      </a:cubicBezTo>
                      <a:cubicBezTo>
                        <a:pt x="164" y="18"/>
                        <a:pt x="155" y="17"/>
                        <a:pt x="156" y="8"/>
                      </a:cubicBezTo>
                      <a:cubicBezTo>
                        <a:pt x="156" y="8"/>
                        <a:pt x="165" y="5"/>
                        <a:pt x="170" y="12"/>
                      </a:cubicBezTo>
                      <a:cubicBezTo>
                        <a:pt x="170" y="12"/>
                        <a:pt x="180" y="11"/>
                        <a:pt x="182" y="15"/>
                      </a:cubicBezTo>
                      <a:cubicBezTo>
                        <a:pt x="182" y="15"/>
                        <a:pt x="188" y="26"/>
                        <a:pt x="191" y="19"/>
                      </a:cubicBezTo>
                      <a:cubicBezTo>
                        <a:pt x="191" y="12"/>
                        <a:pt x="200" y="18"/>
                        <a:pt x="202" y="14"/>
                      </a:cubicBezTo>
                      <a:cubicBezTo>
                        <a:pt x="202" y="14"/>
                        <a:pt x="211" y="0"/>
                        <a:pt x="221" y="15"/>
                      </a:cubicBezTo>
                      <a:cubicBezTo>
                        <a:pt x="221" y="15"/>
                        <a:pt x="218" y="25"/>
                        <a:pt x="246" y="19"/>
                      </a:cubicBezTo>
                      <a:cubicBezTo>
                        <a:pt x="246" y="19"/>
                        <a:pt x="251" y="12"/>
                        <a:pt x="262" y="18"/>
                      </a:cubicBezTo>
                      <a:cubicBezTo>
                        <a:pt x="262" y="18"/>
                        <a:pt x="263" y="23"/>
                        <a:pt x="272" y="20"/>
                      </a:cubicBezTo>
                      <a:cubicBezTo>
                        <a:pt x="272" y="20"/>
                        <a:pt x="287" y="21"/>
                        <a:pt x="297" y="20"/>
                      </a:cubicBezTo>
                      <a:cubicBezTo>
                        <a:pt x="297" y="20"/>
                        <a:pt x="296" y="35"/>
                        <a:pt x="305" y="45"/>
                      </a:cubicBezTo>
                      <a:cubicBezTo>
                        <a:pt x="305" y="45"/>
                        <a:pt x="305" y="63"/>
                        <a:pt x="319" y="56"/>
                      </a:cubicBezTo>
                      <a:cubicBezTo>
                        <a:pt x="319" y="56"/>
                        <a:pt x="325" y="38"/>
                        <a:pt x="333" y="63"/>
                      </a:cubicBezTo>
                      <a:cubicBezTo>
                        <a:pt x="333" y="63"/>
                        <a:pt x="327" y="82"/>
                        <a:pt x="338" y="89"/>
                      </a:cubicBezTo>
                      <a:cubicBezTo>
                        <a:pt x="338" y="89"/>
                        <a:pt x="335" y="103"/>
                        <a:pt x="346" y="107"/>
                      </a:cubicBezTo>
                      <a:cubicBezTo>
                        <a:pt x="346" y="107"/>
                        <a:pt x="348" y="116"/>
                        <a:pt x="354" y="116"/>
                      </a:cubicBezTo>
                      <a:cubicBezTo>
                        <a:pt x="354" y="116"/>
                        <a:pt x="366" y="114"/>
                        <a:pt x="366" y="124"/>
                      </a:cubicBezTo>
                      <a:cubicBezTo>
                        <a:pt x="366" y="124"/>
                        <a:pt x="382" y="130"/>
                        <a:pt x="366" y="139"/>
                      </a:cubicBezTo>
                      <a:cubicBezTo>
                        <a:pt x="366" y="139"/>
                        <a:pt x="370" y="148"/>
                        <a:pt x="361" y="151"/>
                      </a:cubicBezTo>
                      <a:cubicBezTo>
                        <a:pt x="361" y="151"/>
                        <a:pt x="345" y="162"/>
                        <a:pt x="361" y="163"/>
                      </a:cubicBezTo>
                      <a:cubicBezTo>
                        <a:pt x="361" y="163"/>
                        <a:pt x="371" y="167"/>
                        <a:pt x="368" y="174"/>
                      </a:cubicBezTo>
                      <a:cubicBezTo>
                        <a:pt x="368" y="174"/>
                        <a:pt x="364" y="184"/>
                        <a:pt x="383" y="187"/>
                      </a:cubicBezTo>
                      <a:cubicBezTo>
                        <a:pt x="383" y="187"/>
                        <a:pt x="383" y="196"/>
                        <a:pt x="397" y="198"/>
                      </a:cubicBezTo>
                      <a:cubicBezTo>
                        <a:pt x="397" y="198"/>
                        <a:pt x="411" y="195"/>
                        <a:pt x="409" y="221"/>
                      </a:cubicBezTo>
                      <a:cubicBezTo>
                        <a:pt x="409" y="221"/>
                        <a:pt x="406" y="231"/>
                        <a:pt x="421" y="230"/>
                      </a:cubicBezTo>
                      <a:cubicBezTo>
                        <a:pt x="410" y="240"/>
                        <a:pt x="396" y="241"/>
                        <a:pt x="396" y="241"/>
                      </a:cubicBezTo>
                      <a:cubicBezTo>
                        <a:pt x="384" y="250"/>
                        <a:pt x="386" y="261"/>
                        <a:pt x="386" y="261"/>
                      </a:cubicBezTo>
                      <a:cubicBezTo>
                        <a:pt x="377" y="252"/>
                        <a:pt x="370" y="253"/>
                        <a:pt x="370" y="253"/>
                      </a:cubicBezTo>
                      <a:cubicBezTo>
                        <a:pt x="364" y="253"/>
                        <a:pt x="360" y="258"/>
                        <a:pt x="360" y="258"/>
                      </a:cubicBezTo>
                      <a:cubicBezTo>
                        <a:pt x="353" y="263"/>
                        <a:pt x="340" y="258"/>
                        <a:pt x="340" y="258"/>
                      </a:cubicBezTo>
                      <a:cubicBezTo>
                        <a:pt x="332" y="258"/>
                        <a:pt x="329" y="247"/>
                        <a:pt x="316" y="249"/>
                      </a:cubicBezTo>
                      <a:cubicBezTo>
                        <a:pt x="309" y="249"/>
                        <a:pt x="308" y="236"/>
                        <a:pt x="301" y="237"/>
                      </a:cubicBezTo>
                      <a:cubicBezTo>
                        <a:pt x="303" y="250"/>
                        <a:pt x="291" y="252"/>
                        <a:pt x="291" y="252"/>
                      </a:cubicBezTo>
                      <a:cubicBezTo>
                        <a:pt x="291" y="252"/>
                        <a:pt x="291" y="252"/>
                        <a:pt x="291" y="252"/>
                      </a:cubicBezTo>
                      <a:cubicBezTo>
                        <a:pt x="277" y="248"/>
                        <a:pt x="277" y="248"/>
                        <a:pt x="277" y="248"/>
                      </a:cubicBezTo>
                      <a:cubicBezTo>
                        <a:pt x="250" y="252"/>
                        <a:pt x="250" y="252"/>
                        <a:pt x="250" y="252"/>
                      </a:cubicBezTo>
                      <a:cubicBezTo>
                        <a:pt x="250" y="252"/>
                        <a:pt x="250" y="252"/>
                        <a:pt x="250" y="252"/>
                      </a:cubicBezTo>
                      <a:cubicBezTo>
                        <a:pt x="249" y="253"/>
                        <a:pt x="248" y="255"/>
                        <a:pt x="248" y="257"/>
                      </a:cubicBezTo>
                      <a:cubicBezTo>
                        <a:pt x="248" y="257"/>
                        <a:pt x="242" y="251"/>
                        <a:pt x="234" y="253"/>
                      </a:cubicBezTo>
                      <a:cubicBezTo>
                        <a:pt x="234" y="253"/>
                        <a:pt x="235" y="261"/>
                        <a:pt x="232" y="265"/>
                      </a:cubicBezTo>
                      <a:cubicBezTo>
                        <a:pt x="228" y="264"/>
                        <a:pt x="227" y="275"/>
                        <a:pt x="227" y="275"/>
                      </a:cubicBezTo>
                      <a:cubicBezTo>
                        <a:pt x="212" y="292"/>
                        <a:pt x="202" y="270"/>
                        <a:pt x="202" y="270"/>
                      </a:cubicBezTo>
                      <a:cubicBezTo>
                        <a:pt x="188" y="272"/>
                        <a:pt x="184" y="253"/>
                        <a:pt x="184" y="253"/>
                      </a:cubicBezTo>
                      <a:cubicBezTo>
                        <a:pt x="180" y="275"/>
                        <a:pt x="163" y="264"/>
                        <a:pt x="163" y="264"/>
                      </a:cubicBezTo>
                      <a:cubicBezTo>
                        <a:pt x="159" y="275"/>
                        <a:pt x="126" y="272"/>
                        <a:pt x="126" y="272"/>
                      </a:cubicBezTo>
                      <a:cubicBezTo>
                        <a:pt x="88" y="285"/>
                        <a:pt x="78" y="276"/>
                        <a:pt x="78" y="276"/>
                      </a:cubicBezTo>
                      <a:cubicBezTo>
                        <a:pt x="66" y="272"/>
                        <a:pt x="63" y="261"/>
                        <a:pt x="63" y="261"/>
                      </a:cubicBezTo>
                      <a:cubicBezTo>
                        <a:pt x="47" y="260"/>
                        <a:pt x="42" y="253"/>
                        <a:pt x="42" y="253"/>
                      </a:cubicBezTo>
                      <a:cubicBezTo>
                        <a:pt x="37" y="246"/>
                        <a:pt x="16" y="244"/>
                        <a:pt x="16" y="244"/>
                      </a:cubicBezTo>
                      <a:cubicBezTo>
                        <a:pt x="2" y="247"/>
                        <a:pt x="0" y="237"/>
                        <a:pt x="0" y="237"/>
                      </a:cubicBezTo>
                      <a:cubicBezTo>
                        <a:pt x="0" y="237"/>
                        <a:pt x="0" y="237"/>
                        <a:pt x="0" y="237"/>
                      </a:cubicBezTo>
                      <a:cubicBezTo>
                        <a:pt x="20" y="233"/>
                        <a:pt x="20" y="233"/>
                        <a:pt x="20" y="233"/>
                      </a:cubicBezTo>
                      <a:cubicBezTo>
                        <a:pt x="20" y="233"/>
                        <a:pt x="20" y="233"/>
                        <a:pt x="20" y="233"/>
                      </a:cubicBezTo>
                      <a:cubicBezTo>
                        <a:pt x="29" y="237"/>
                        <a:pt x="35" y="224"/>
                        <a:pt x="35" y="224"/>
                      </a:cubicBezTo>
                      <a:cubicBezTo>
                        <a:pt x="30" y="212"/>
                        <a:pt x="16" y="211"/>
                        <a:pt x="16" y="211"/>
                      </a:cubicBezTo>
                      <a:cubicBezTo>
                        <a:pt x="12" y="210"/>
                        <a:pt x="8" y="210"/>
                        <a:pt x="5" y="210"/>
                      </a:cubicBezTo>
                      <a:cubicBezTo>
                        <a:pt x="1" y="206"/>
                        <a:pt x="10" y="203"/>
                        <a:pt x="9" y="198"/>
                      </a:cubicBezTo>
                      <a:cubicBezTo>
                        <a:pt x="19" y="198"/>
                        <a:pt x="24" y="195"/>
                        <a:pt x="24" y="195"/>
                      </a:cubicBezTo>
                      <a:cubicBezTo>
                        <a:pt x="38" y="196"/>
                        <a:pt x="46" y="203"/>
                        <a:pt x="46" y="203"/>
                      </a:cubicBezTo>
                      <a:cubicBezTo>
                        <a:pt x="57" y="211"/>
                        <a:pt x="71" y="199"/>
                        <a:pt x="71" y="199"/>
                      </a:cubicBezTo>
                      <a:cubicBezTo>
                        <a:pt x="71" y="199"/>
                        <a:pt x="71" y="199"/>
                        <a:pt x="71" y="199"/>
                      </a:cubicBezTo>
                      <a:cubicBezTo>
                        <a:pt x="82" y="196"/>
                        <a:pt x="82" y="196"/>
                        <a:pt x="82" y="196"/>
                      </a:cubicBezTo>
                      <a:cubicBezTo>
                        <a:pt x="82" y="196"/>
                        <a:pt x="82" y="196"/>
                        <a:pt x="82" y="196"/>
                      </a:cubicBezTo>
                      <a:cubicBezTo>
                        <a:pt x="79" y="191"/>
                        <a:pt x="62" y="187"/>
                        <a:pt x="62" y="187"/>
                      </a:cubicBezTo>
                      <a:cubicBezTo>
                        <a:pt x="62" y="187"/>
                        <a:pt x="62" y="187"/>
                        <a:pt x="62" y="187"/>
                      </a:cubicBezTo>
                      <a:cubicBezTo>
                        <a:pt x="41" y="187"/>
                        <a:pt x="41" y="187"/>
                        <a:pt x="41" y="187"/>
                      </a:cubicBezTo>
                      <a:cubicBezTo>
                        <a:pt x="41" y="187"/>
                        <a:pt x="41" y="187"/>
                        <a:pt x="41" y="187"/>
                      </a:cubicBezTo>
                      <a:cubicBezTo>
                        <a:pt x="27" y="182"/>
                        <a:pt x="23" y="165"/>
                        <a:pt x="23" y="165"/>
                      </a:cubicBezTo>
                      <a:cubicBezTo>
                        <a:pt x="23" y="165"/>
                        <a:pt x="23" y="165"/>
                        <a:pt x="23" y="165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0" name="Freeform 35"/>
                <p:cNvSpPr>
                  <a:spLocks/>
                </p:cNvSpPr>
                <p:nvPr/>
              </p:nvSpPr>
              <p:spPr bwMode="auto">
                <a:xfrm>
                  <a:off x="338760" y="3515302"/>
                  <a:ext cx="835707" cy="596973"/>
                </a:xfrm>
                <a:custGeom>
                  <a:avLst/>
                  <a:gdLst/>
                  <a:ahLst/>
                  <a:cxnLst>
                    <a:cxn ang="0">
                      <a:pos x="171" y="84"/>
                    </a:cxn>
                    <a:cxn ang="0">
                      <a:pos x="155" y="83"/>
                    </a:cxn>
                    <a:cxn ang="0">
                      <a:pos x="155" y="83"/>
                    </a:cxn>
                    <a:cxn ang="0">
                      <a:pos x="141" y="74"/>
                    </a:cxn>
                    <a:cxn ang="0">
                      <a:pos x="127" y="63"/>
                    </a:cxn>
                    <a:cxn ang="0">
                      <a:pos x="115" y="54"/>
                    </a:cxn>
                    <a:cxn ang="0">
                      <a:pos x="103" y="45"/>
                    </a:cxn>
                    <a:cxn ang="0">
                      <a:pos x="100" y="17"/>
                    </a:cxn>
                    <a:cxn ang="0">
                      <a:pos x="100" y="17"/>
                    </a:cxn>
                    <a:cxn ang="0">
                      <a:pos x="79" y="12"/>
                    </a:cxn>
                    <a:cxn ang="0">
                      <a:pos x="79" y="12"/>
                    </a:cxn>
                    <a:cxn ang="0">
                      <a:pos x="63" y="4"/>
                    </a:cxn>
                    <a:cxn ang="0">
                      <a:pos x="61" y="11"/>
                    </a:cxn>
                    <a:cxn ang="0">
                      <a:pos x="44" y="32"/>
                    </a:cxn>
                    <a:cxn ang="0">
                      <a:pos x="35" y="55"/>
                    </a:cxn>
                    <a:cxn ang="0">
                      <a:pos x="6" y="86"/>
                    </a:cxn>
                    <a:cxn ang="0">
                      <a:pos x="1" y="118"/>
                    </a:cxn>
                    <a:cxn ang="0">
                      <a:pos x="14" y="130"/>
                    </a:cxn>
                    <a:cxn ang="0">
                      <a:pos x="21" y="142"/>
                    </a:cxn>
                    <a:cxn ang="0">
                      <a:pos x="30" y="152"/>
                    </a:cxn>
                    <a:cxn ang="0">
                      <a:pos x="46" y="167"/>
                    </a:cxn>
                    <a:cxn ang="0">
                      <a:pos x="61" y="182"/>
                    </a:cxn>
                    <a:cxn ang="0">
                      <a:pos x="75" y="197"/>
                    </a:cxn>
                    <a:cxn ang="0">
                      <a:pos x="76" y="212"/>
                    </a:cxn>
                    <a:cxn ang="0">
                      <a:pos x="104" y="202"/>
                    </a:cxn>
                    <a:cxn ang="0">
                      <a:pos x="129" y="196"/>
                    </a:cxn>
                    <a:cxn ang="0">
                      <a:pos x="155" y="211"/>
                    </a:cxn>
                    <a:cxn ang="0">
                      <a:pos x="179" y="216"/>
                    </a:cxn>
                    <a:cxn ang="0">
                      <a:pos x="210" y="226"/>
                    </a:cxn>
                    <a:cxn ang="0">
                      <a:pos x="250" y="233"/>
                    </a:cxn>
                    <a:cxn ang="0">
                      <a:pos x="283" y="233"/>
                    </a:cxn>
                    <a:cxn ang="0">
                      <a:pos x="282" y="204"/>
                    </a:cxn>
                    <a:cxn ang="0">
                      <a:pos x="277" y="186"/>
                    </a:cxn>
                    <a:cxn ang="0">
                      <a:pos x="262" y="165"/>
                    </a:cxn>
                    <a:cxn ang="0">
                      <a:pos x="249" y="161"/>
                    </a:cxn>
                    <a:cxn ang="0">
                      <a:pos x="233" y="149"/>
                    </a:cxn>
                    <a:cxn ang="0">
                      <a:pos x="231" y="128"/>
                    </a:cxn>
                    <a:cxn ang="0">
                      <a:pos x="216" y="134"/>
                    </a:cxn>
                    <a:cxn ang="0">
                      <a:pos x="211" y="125"/>
                    </a:cxn>
                    <a:cxn ang="0">
                      <a:pos x="203" y="117"/>
                    </a:cxn>
                    <a:cxn ang="0">
                      <a:pos x="183" y="101"/>
                    </a:cxn>
                    <a:cxn ang="0">
                      <a:pos x="171" y="84"/>
                    </a:cxn>
                    <a:cxn ang="0">
                      <a:pos x="171" y="84"/>
                    </a:cxn>
                  </a:cxnLst>
                  <a:rect l="0" t="0" r="r" b="b"/>
                  <a:pathLst>
                    <a:path w="295" h="238">
                      <a:moveTo>
                        <a:pt x="171" y="84"/>
                      </a:moveTo>
                      <a:cubicBezTo>
                        <a:pt x="155" y="83"/>
                        <a:pt x="155" y="83"/>
                        <a:pt x="155" y="83"/>
                      </a:cubicBezTo>
                      <a:cubicBezTo>
                        <a:pt x="155" y="83"/>
                        <a:pt x="155" y="83"/>
                        <a:pt x="155" y="83"/>
                      </a:cubicBezTo>
                      <a:cubicBezTo>
                        <a:pt x="155" y="83"/>
                        <a:pt x="152" y="74"/>
                        <a:pt x="141" y="74"/>
                      </a:cubicBezTo>
                      <a:cubicBezTo>
                        <a:pt x="141" y="74"/>
                        <a:pt x="129" y="76"/>
                        <a:pt x="127" y="63"/>
                      </a:cubicBezTo>
                      <a:cubicBezTo>
                        <a:pt x="127" y="63"/>
                        <a:pt x="127" y="47"/>
                        <a:pt x="115" y="54"/>
                      </a:cubicBezTo>
                      <a:cubicBezTo>
                        <a:pt x="115" y="54"/>
                        <a:pt x="105" y="53"/>
                        <a:pt x="103" y="45"/>
                      </a:cubicBezTo>
                      <a:cubicBezTo>
                        <a:pt x="103" y="45"/>
                        <a:pt x="97" y="42"/>
                        <a:pt x="100" y="17"/>
                      </a:cubicBezTo>
                      <a:cubicBezTo>
                        <a:pt x="100" y="17"/>
                        <a:pt x="100" y="17"/>
                        <a:pt x="100" y="17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71" y="0"/>
                        <a:pt x="66" y="1"/>
                        <a:pt x="63" y="4"/>
                      </a:cubicBezTo>
                      <a:cubicBezTo>
                        <a:pt x="61" y="6"/>
                        <a:pt x="61" y="11"/>
                        <a:pt x="61" y="11"/>
                      </a:cubicBezTo>
                      <a:cubicBezTo>
                        <a:pt x="46" y="19"/>
                        <a:pt x="44" y="32"/>
                        <a:pt x="44" y="32"/>
                      </a:cubicBezTo>
                      <a:cubicBezTo>
                        <a:pt x="35" y="39"/>
                        <a:pt x="35" y="55"/>
                        <a:pt x="35" y="55"/>
                      </a:cubicBezTo>
                      <a:cubicBezTo>
                        <a:pt x="35" y="55"/>
                        <a:pt x="28" y="75"/>
                        <a:pt x="6" y="86"/>
                      </a:cubicBezTo>
                      <a:cubicBezTo>
                        <a:pt x="0" y="98"/>
                        <a:pt x="1" y="118"/>
                        <a:pt x="1" y="118"/>
                      </a:cubicBezTo>
                      <a:cubicBezTo>
                        <a:pt x="16" y="113"/>
                        <a:pt x="14" y="130"/>
                        <a:pt x="14" y="130"/>
                      </a:cubicBezTo>
                      <a:cubicBezTo>
                        <a:pt x="24" y="131"/>
                        <a:pt x="21" y="142"/>
                        <a:pt x="21" y="142"/>
                      </a:cubicBezTo>
                      <a:cubicBezTo>
                        <a:pt x="20" y="154"/>
                        <a:pt x="30" y="152"/>
                        <a:pt x="30" y="152"/>
                      </a:cubicBezTo>
                      <a:cubicBezTo>
                        <a:pt x="45" y="149"/>
                        <a:pt x="35" y="164"/>
                        <a:pt x="46" y="167"/>
                      </a:cubicBezTo>
                      <a:cubicBezTo>
                        <a:pt x="46" y="189"/>
                        <a:pt x="61" y="182"/>
                        <a:pt x="61" y="182"/>
                      </a:cubicBezTo>
                      <a:cubicBezTo>
                        <a:pt x="76" y="175"/>
                        <a:pt x="83" y="195"/>
                        <a:pt x="75" y="197"/>
                      </a:cubicBezTo>
                      <a:cubicBezTo>
                        <a:pt x="72" y="209"/>
                        <a:pt x="76" y="212"/>
                        <a:pt x="76" y="212"/>
                      </a:cubicBezTo>
                      <a:cubicBezTo>
                        <a:pt x="87" y="212"/>
                        <a:pt x="84" y="196"/>
                        <a:pt x="104" y="202"/>
                      </a:cubicBezTo>
                      <a:cubicBezTo>
                        <a:pt x="113" y="175"/>
                        <a:pt x="129" y="196"/>
                        <a:pt x="129" y="196"/>
                      </a:cubicBezTo>
                      <a:cubicBezTo>
                        <a:pt x="139" y="214"/>
                        <a:pt x="155" y="211"/>
                        <a:pt x="155" y="211"/>
                      </a:cubicBezTo>
                      <a:cubicBezTo>
                        <a:pt x="164" y="205"/>
                        <a:pt x="179" y="216"/>
                        <a:pt x="179" y="216"/>
                      </a:cubicBezTo>
                      <a:cubicBezTo>
                        <a:pt x="189" y="215"/>
                        <a:pt x="195" y="230"/>
                        <a:pt x="210" y="226"/>
                      </a:cubicBezTo>
                      <a:cubicBezTo>
                        <a:pt x="220" y="224"/>
                        <a:pt x="230" y="238"/>
                        <a:pt x="250" y="233"/>
                      </a:cubicBezTo>
                      <a:cubicBezTo>
                        <a:pt x="266" y="229"/>
                        <a:pt x="277" y="230"/>
                        <a:pt x="283" y="233"/>
                      </a:cubicBezTo>
                      <a:cubicBezTo>
                        <a:pt x="295" y="212"/>
                        <a:pt x="282" y="204"/>
                        <a:pt x="282" y="204"/>
                      </a:cubicBezTo>
                      <a:cubicBezTo>
                        <a:pt x="273" y="200"/>
                        <a:pt x="284" y="190"/>
                        <a:pt x="277" y="186"/>
                      </a:cubicBezTo>
                      <a:cubicBezTo>
                        <a:pt x="271" y="167"/>
                        <a:pt x="262" y="165"/>
                        <a:pt x="262" y="165"/>
                      </a:cubicBezTo>
                      <a:cubicBezTo>
                        <a:pt x="255" y="149"/>
                        <a:pt x="249" y="161"/>
                        <a:pt x="249" y="161"/>
                      </a:cubicBezTo>
                      <a:cubicBezTo>
                        <a:pt x="224" y="164"/>
                        <a:pt x="233" y="149"/>
                        <a:pt x="233" y="149"/>
                      </a:cubicBezTo>
                      <a:cubicBezTo>
                        <a:pt x="238" y="120"/>
                        <a:pt x="231" y="128"/>
                        <a:pt x="231" y="128"/>
                      </a:cubicBezTo>
                      <a:cubicBezTo>
                        <a:pt x="220" y="127"/>
                        <a:pt x="216" y="134"/>
                        <a:pt x="216" y="134"/>
                      </a:cubicBezTo>
                      <a:cubicBezTo>
                        <a:pt x="203" y="136"/>
                        <a:pt x="211" y="125"/>
                        <a:pt x="211" y="125"/>
                      </a:cubicBezTo>
                      <a:cubicBezTo>
                        <a:pt x="210" y="118"/>
                        <a:pt x="203" y="117"/>
                        <a:pt x="203" y="117"/>
                      </a:cubicBezTo>
                      <a:cubicBezTo>
                        <a:pt x="194" y="115"/>
                        <a:pt x="200" y="100"/>
                        <a:pt x="183" y="101"/>
                      </a:cubicBezTo>
                      <a:cubicBezTo>
                        <a:pt x="184" y="92"/>
                        <a:pt x="171" y="84"/>
                        <a:pt x="171" y="84"/>
                      </a:cubicBezTo>
                      <a:cubicBezTo>
                        <a:pt x="171" y="84"/>
                        <a:pt x="171" y="84"/>
                        <a:pt x="171" y="84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1" name="Freeform 128"/>
                <p:cNvSpPr>
                  <a:spLocks/>
                </p:cNvSpPr>
                <p:nvPr/>
              </p:nvSpPr>
              <p:spPr bwMode="auto">
                <a:xfrm>
                  <a:off x="3850362" y="4962794"/>
                  <a:ext cx="1538028" cy="842470"/>
                </a:xfrm>
                <a:custGeom>
                  <a:avLst/>
                  <a:gdLst/>
                  <a:ahLst/>
                  <a:cxnLst>
                    <a:cxn ang="0">
                      <a:pos x="172" y="17"/>
                    </a:cxn>
                    <a:cxn ang="0">
                      <a:pos x="192" y="29"/>
                    </a:cxn>
                    <a:cxn ang="0">
                      <a:pos x="219" y="32"/>
                    </a:cxn>
                    <a:cxn ang="0">
                      <a:pos x="221" y="46"/>
                    </a:cxn>
                    <a:cxn ang="0">
                      <a:pos x="228" y="39"/>
                    </a:cxn>
                    <a:cxn ang="0">
                      <a:pos x="250" y="47"/>
                    </a:cxn>
                    <a:cxn ang="0">
                      <a:pos x="272" y="51"/>
                    </a:cxn>
                    <a:cxn ang="0">
                      <a:pos x="260" y="41"/>
                    </a:cxn>
                    <a:cxn ang="0">
                      <a:pos x="275" y="57"/>
                    </a:cxn>
                    <a:cxn ang="0">
                      <a:pos x="280" y="65"/>
                    </a:cxn>
                    <a:cxn ang="0">
                      <a:pos x="289" y="72"/>
                    </a:cxn>
                    <a:cxn ang="0">
                      <a:pos x="298" y="65"/>
                    </a:cxn>
                    <a:cxn ang="0">
                      <a:pos x="300" y="83"/>
                    </a:cxn>
                    <a:cxn ang="0">
                      <a:pos x="334" y="105"/>
                    </a:cxn>
                    <a:cxn ang="0">
                      <a:pos x="343" y="117"/>
                    </a:cxn>
                    <a:cxn ang="0">
                      <a:pos x="343" y="131"/>
                    </a:cxn>
                    <a:cxn ang="0">
                      <a:pos x="363" y="154"/>
                    </a:cxn>
                    <a:cxn ang="0">
                      <a:pos x="399" y="159"/>
                    </a:cxn>
                    <a:cxn ang="0">
                      <a:pos x="342" y="104"/>
                    </a:cxn>
                    <a:cxn ang="0">
                      <a:pos x="310" y="49"/>
                    </a:cxn>
                    <a:cxn ang="0">
                      <a:pos x="289" y="19"/>
                    </a:cxn>
                    <a:cxn ang="0">
                      <a:pos x="301" y="15"/>
                    </a:cxn>
                    <a:cxn ang="0">
                      <a:pos x="305" y="12"/>
                    </a:cxn>
                    <a:cxn ang="0">
                      <a:pos x="330" y="81"/>
                    </a:cxn>
                    <a:cxn ang="0">
                      <a:pos x="385" y="149"/>
                    </a:cxn>
                    <a:cxn ang="0">
                      <a:pos x="441" y="121"/>
                    </a:cxn>
                    <a:cxn ang="0">
                      <a:pos x="494" y="119"/>
                    </a:cxn>
                    <a:cxn ang="0">
                      <a:pos x="543" y="132"/>
                    </a:cxn>
                    <a:cxn ang="0">
                      <a:pos x="520" y="177"/>
                    </a:cxn>
                    <a:cxn ang="0">
                      <a:pos x="499" y="201"/>
                    </a:cxn>
                    <a:cxn ang="0">
                      <a:pos x="460" y="205"/>
                    </a:cxn>
                    <a:cxn ang="0">
                      <a:pos x="429" y="192"/>
                    </a:cxn>
                    <a:cxn ang="0">
                      <a:pos x="391" y="205"/>
                    </a:cxn>
                    <a:cxn ang="0">
                      <a:pos x="357" y="247"/>
                    </a:cxn>
                    <a:cxn ang="0">
                      <a:pos x="316" y="247"/>
                    </a:cxn>
                    <a:cxn ang="0">
                      <a:pos x="268" y="279"/>
                    </a:cxn>
                    <a:cxn ang="0">
                      <a:pos x="217" y="331"/>
                    </a:cxn>
                    <a:cxn ang="0">
                      <a:pos x="165" y="319"/>
                    </a:cxn>
                    <a:cxn ang="0">
                      <a:pos x="133" y="297"/>
                    </a:cxn>
                    <a:cxn ang="0">
                      <a:pos x="161" y="246"/>
                    </a:cxn>
                    <a:cxn ang="0">
                      <a:pos x="128" y="185"/>
                    </a:cxn>
                    <a:cxn ang="0">
                      <a:pos x="85" y="171"/>
                    </a:cxn>
                    <a:cxn ang="0">
                      <a:pos x="25" y="167"/>
                    </a:cxn>
                    <a:cxn ang="0">
                      <a:pos x="49" y="123"/>
                    </a:cxn>
                    <a:cxn ang="0">
                      <a:pos x="98" y="82"/>
                    </a:cxn>
                    <a:cxn ang="0">
                      <a:pos x="129" y="71"/>
                    </a:cxn>
                    <a:cxn ang="0">
                      <a:pos x="148" y="62"/>
                    </a:cxn>
                    <a:cxn ang="0">
                      <a:pos x="165" y="58"/>
                    </a:cxn>
                    <a:cxn ang="0">
                      <a:pos x="170" y="47"/>
                    </a:cxn>
                    <a:cxn ang="0">
                      <a:pos x="158" y="31"/>
                    </a:cxn>
                    <a:cxn ang="0">
                      <a:pos x="154" y="21"/>
                    </a:cxn>
                    <a:cxn ang="0">
                      <a:pos x="153" y="2"/>
                    </a:cxn>
                    <a:cxn ang="0">
                      <a:pos x="168" y="6"/>
                    </a:cxn>
                  </a:cxnLst>
                  <a:rect l="0" t="0" r="r" b="b"/>
                  <a:pathLst>
                    <a:path w="543" h="337">
                      <a:moveTo>
                        <a:pt x="168" y="6"/>
                      </a:moveTo>
                      <a:cubicBezTo>
                        <a:pt x="168" y="13"/>
                        <a:pt x="172" y="17"/>
                        <a:pt x="172" y="17"/>
                      </a:cubicBezTo>
                      <a:cubicBezTo>
                        <a:pt x="177" y="10"/>
                        <a:pt x="185" y="22"/>
                        <a:pt x="185" y="22"/>
                      </a:cubicBezTo>
                      <a:cubicBezTo>
                        <a:pt x="185" y="35"/>
                        <a:pt x="192" y="29"/>
                        <a:pt x="192" y="29"/>
                      </a:cubicBezTo>
                      <a:cubicBezTo>
                        <a:pt x="192" y="18"/>
                        <a:pt x="200" y="21"/>
                        <a:pt x="200" y="21"/>
                      </a:cubicBezTo>
                      <a:cubicBezTo>
                        <a:pt x="213" y="17"/>
                        <a:pt x="219" y="32"/>
                        <a:pt x="219" y="32"/>
                      </a:cubicBezTo>
                      <a:cubicBezTo>
                        <a:pt x="219" y="32"/>
                        <a:pt x="219" y="32"/>
                        <a:pt x="219" y="32"/>
                      </a:cubicBezTo>
                      <a:cubicBezTo>
                        <a:pt x="221" y="46"/>
                        <a:pt x="221" y="46"/>
                        <a:pt x="221" y="46"/>
                      </a:cubicBezTo>
                      <a:cubicBezTo>
                        <a:pt x="221" y="46"/>
                        <a:pt x="221" y="46"/>
                        <a:pt x="221" y="46"/>
                      </a:cubicBezTo>
                      <a:cubicBezTo>
                        <a:pt x="224" y="36"/>
                        <a:pt x="228" y="39"/>
                        <a:pt x="228" y="39"/>
                      </a:cubicBezTo>
                      <a:cubicBezTo>
                        <a:pt x="228" y="33"/>
                        <a:pt x="237" y="35"/>
                        <a:pt x="237" y="35"/>
                      </a:cubicBezTo>
                      <a:cubicBezTo>
                        <a:pt x="246" y="33"/>
                        <a:pt x="250" y="47"/>
                        <a:pt x="250" y="47"/>
                      </a:cubicBezTo>
                      <a:cubicBezTo>
                        <a:pt x="249" y="60"/>
                        <a:pt x="261" y="61"/>
                        <a:pt x="261" y="61"/>
                      </a:cubicBezTo>
                      <a:cubicBezTo>
                        <a:pt x="267" y="61"/>
                        <a:pt x="272" y="51"/>
                        <a:pt x="272" y="51"/>
                      </a:cubicBezTo>
                      <a:cubicBezTo>
                        <a:pt x="272" y="45"/>
                        <a:pt x="264" y="44"/>
                        <a:pt x="264" y="44"/>
                      </a:cubicBezTo>
                      <a:cubicBezTo>
                        <a:pt x="262" y="43"/>
                        <a:pt x="261" y="43"/>
                        <a:pt x="260" y="41"/>
                      </a:cubicBezTo>
                      <a:cubicBezTo>
                        <a:pt x="266" y="31"/>
                        <a:pt x="279" y="41"/>
                        <a:pt x="279" y="41"/>
                      </a:cubicBezTo>
                      <a:cubicBezTo>
                        <a:pt x="280" y="54"/>
                        <a:pt x="275" y="57"/>
                        <a:pt x="275" y="57"/>
                      </a:cubicBezTo>
                      <a:cubicBezTo>
                        <a:pt x="266" y="68"/>
                        <a:pt x="268" y="76"/>
                        <a:pt x="268" y="76"/>
                      </a:cubicBezTo>
                      <a:cubicBezTo>
                        <a:pt x="275" y="78"/>
                        <a:pt x="280" y="65"/>
                        <a:pt x="280" y="65"/>
                      </a:cubicBezTo>
                      <a:cubicBezTo>
                        <a:pt x="286" y="53"/>
                        <a:pt x="294" y="51"/>
                        <a:pt x="294" y="51"/>
                      </a:cubicBezTo>
                      <a:cubicBezTo>
                        <a:pt x="290" y="63"/>
                        <a:pt x="289" y="72"/>
                        <a:pt x="289" y="72"/>
                      </a:cubicBezTo>
                      <a:cubicBezTo>
                        <a:pt x="289" y="72"/>
                        <a:pt x="289" y="72"/>
                        <a:pt x="289" y="72"/>
                      </a:cubicBezTo>
                      <a:cubicBezTo>
                        <a:pt x="298" y="65"/>
                        <a:pt x="298" y="65"/>
                        <a:pt x="298" y="65"/>
                      </a:cubicBezTo>
                      <a:cubicBezTo>
                        <a:pt x="298" y="65"/>
                        <a:pt x="298" y="65"/>
                        <a:pt x="298" y="65"/>
                      </a:cubicBezTo>
                      <a:cubicBezTo>
                        <a:pt x="302" y="70"/>
                        <a:pt x="300" y="83"/>
                        <a:pt x="300" y="83"/>
                      </a:cubicBezTo>
                      <a:cubicBezTo>
                        <a:pt x="315" y="83"/>
                        <a:pt x="319" y="92"/>
                        <a:pt x="319" y="92"/>
                      </a:cubicBezTo>
                      <a:cubicBezTo>
                        <a:pt x="330" y="93"/>
                        <a:pt x="334" y="105"/>
                        <a:pt x="334" y="105"/>
                      </a:cubicBezTo>
                      <a:cubicBezTo>
                        <a:pt x="343" y="110"/>
                        <a:pt x="343" y="117"/>
                        <a:pt x="343" y="117"/>
                      </a:cubicBezTo>
                      <a:cubicBezTo>
                        <a:pt x="343" y="117"/>
                        <a:pt x="343" y="117"/>
                        <a:pt x="343" y="117"/>
                      </a:cubicBezTo>
                      <a:cubicBezTo>
                        <a:pt x="343" y="131"/>
                        <a:pt x="343" y="131"/>
                        <a:pt x="343" y="131"/>
                      </a:cubicBezTo>
                      <a:cubicBezTo>
                        <a:pt x="343" y="131"/>
                        <a:pt x="343" y="131"/>
                        <a:pt x="343" y="131"/>
                      </a:cubicBezTo>
                      <a:cubicBezTo>
                        <a:pt x="338" y="141"/>
                        <a:pt x="346" y="147"/>
                        <a:pt x="346" y="147"/>
                      </a:cubicBezTo>
                      <a:cubicBezTo>
                        <a:pt x="356" y="148"/>
                        <a:pt x="363" y="154"/>
                        <a:pt x="363" y="154"/>
                      </a:cubicBezTo>
                      <a:cubicBezTo>
                        <a:pt x="378" y="157"/>
                        <a:pt x="390" y="166"/>
                        <a:pt x="390" y="166"/>
                      </a:cubicBezTo>
                      <a:cubicBezTo>
                        <a:pt x="392" y="161"/>
                        <a:pt x="399" y="159"/>
                        <a:pt x="399" y="159"/>
                      </a:cubicBezTo>
                      <a:cubicBezTo>
                        <a:pt x="385" y="160"/>
                        <a:pt x="374" y="144"/>
                        <a:pt x="374" y="144"/>
                      </a:cubicBezTo>
                      <a:cubicBezTo>
                        <a:pt x="360" y="127"/>
                        <a:pt x="342" y="104"/>
                        <a:pt x="342" y="104"/>
                      </a:cubicBezTo>
                      <a:cubicBezTo>
                        <a:pt x="327" y="84"/>
                        <a:pt x="319" y="65"/>
                        <a:pt x="319" y="65"/>
                      </a:cubicBezTo>
                      <a:cubicBezTo>
                        <a:pt x="305" y="75"/>
                        <a:pt x="310" y="49"/>
                        <a:pt x="310" y="49"/>
                      </a:cubicBezTo>
                      <a:cubicBezTo>
                        <a:pt x="302" y="46"/>
                        <a:pt x="307" y="32"/>
                        <a:pt x="307" y="32"/>
                      </a:cubicBezTo>
                      <a:cubicBezTo>
                        <a:pt x="295" y="32"/>
                        <a:pt x="289" y="19"/>
                        <a:pt x="289" y="19"/>
                      </a:cubicBezTo>
                      <a:cubicBezTo>
                        <a:pt x="287" y="13"/>
                        <a:pt x="301" y="15"/>
                        <a:pt x="301" y="15"/>
                      </a:cubicBezTo>
                      <a:cubicBezTo>
                        <a:pt x="301" y="15"/>
                        <a:pt x="301" y="15"/>
                        <a:pt x="301" y="15"/>
                      </a:cubicBezTo>
                      <a:cubicBezTo>
                        <a:pt x="305" y="12"/>
                        <a:pt x="305" y="12"/>
                        <a:pt x="305" y="12"/>
                      </a:cubicBezTo>
                      <a:cubicBezTo>
                        <a:pt x="305" y="12"/>
                        <a:pt x="305" y="12"/>
                        <a:pt x="305" y="12"/>
                      </a:cubicBezTo>
                      <a:cubicBezTo>
                        <a:pt x="305" y="26"/>
                        <a:pt x="312" y="35"/>
                        <a:pt x="312" y="35"/>
                      </a:cubicBezTo>
                      <a:cubicBezTo>
                        <a:pt x="313" y="50"/>
                        <a:pt x="330" y="81"/>
                        <a:pt x="330" y="81"/>
                      </a:cubicBezTo>
                      <a:cubicBezTo>
                        <a:pt x="335" y="87"/>
                        <a:pt x="355" y="115"/>
                        <a:pt x="355" y="115"/>
                      </a:cubicBezTo>
                      <a:cubicBezTo>
                        <a:pt x="369" y="134"/>
                        <a:pt x="385" y="149"/>
                        <a:pt x="385" y="149"/>
                      </a:cubicBezTo>
                      <a:cubicBezTo>
                        <a:pt x="393" y="161"/>
                        <a:pt x="423" y="147"/>
                        <a:pt x="423" y="147"/>
                      </a:cubicBezTo>
                      <a:cubicBezTo>
                        <a:pt x="430" y="144"/>
                        <a:pt x="441" y="121"/>
                        <a:pt x="441" y="121"/>
                      </a:cubicBezTo>
                      <a:cubicBezTo>
                        <a:pt x="455" y="146"/>
                        <a:pt x="470" y="132"/>
                        <a:pt x="470" y="132"/>
                      </a:cubicBezTo>
                      <a:cubicBezTo>
                        <a:pt x="474" y="116"/>
                        <a:pt x="494" y="119"/>
                        <a:pt x="494" y="119"/>
                      </a:cubicBezTo>
                      <a:cubicBezTo>
                        <a:pt x="512" y="115"/>
                        <a:pt x="527" y="120"/>
                        <a:pt x="527" y="120"/>
                      </a:cubicBezTo>
                      <a:cubicBezTo>
                        <a:pt x="541" y="122"/>
                        <a:pt x="543" y="132"/>
                        <a:pt x="543" y="132"/>
                      </a:cubicBezTo>
                      <a:cubicBezTo>
                        <a:pt x="540" y="144"/>
                        <a:pt x="521" y="153"/>
                        <a:pt x="521" y="153"/>
                      </a:cubicBezTo>
                      <a:cubicBezTo>
                        <a:pt x="517" y="159"/>
                        <a:pt x="520" y="177"/>
                        <a:pt x="520" y="177"/>
                      </a:cubicBezTo>
                      <a:cubicBezTo>
                        <a:pt x="536" y="190"/>
                        <a:pt x="513" y="193"/>
                        <a:pt x="513" y="193"/>
                      </a:cubicBezTo>
                      <a:cubicBezTo>
                        <a:pt x="501" y="191"/>
                        <a:pt x="499" y="201"/>
                        <a:pt x="499" y="201"/>
                      </a:cubicBezTo>
                      <a:cubicBezTo>
                        <a:pt x="492" y="204"/>
                        <a:pt x="472" y="197"/>
                        <a:pt x="472" y="197"/>
                      </a:cubicBezTo>
                      <a:cubicBezTo>
                        <a:pt x="469" y="207"/>
                        <a:pt x="460" y="205"/>
                        <a:pt x="460" y="205"/>
                      </a:cubicBezTo>
                      <a:cubicBezTo>
                        <a:pt x="451" y="215"/>
                        <a:pt x="441" y="200"/>
                        <a:pt x="441" y="200"/>
                      </a:cubicBezTo>
                      <a:cubicBezTo>
                        <a:pt x="438" y="193"/>
                        <a:pt x="429" y="192"/>
                        <a:pt x="429" y="192"/>
                      </a:cubicBezTo>
                      <a:cubicBezTo>
                        <a:pt x="420" y="179"/>
                        <a:pt x="399" y="189"/>
                        <a:pt x="399" y="189"/>
                      </a:cubicBezTo>
                      <a:cubicBezTo>
                        <a:pt x="391" y="199"/>
                        <a:pt x="391" y="205"/>
                        <a:pt x="391" y="205"/>
                      </a:cubicBezTo>
                      <a:cubicBezTo>
                        <a:pt x="385" y="216"/>
                        <a:pt x="373" y="222"/>
                        <a:pt x="373" y="222"/>
                      </a:cubicBezTo>
                      <a:cubicBezTo>
                        <a:pt x="356" y="226"/>
                        <a:pt x="357" y="247"/>
                        <a:pt x="357" y="247"/>
                      </a:cubicBezTo>
                      <a:cubicBezTo>
                        <a:pt x="351" y="257"/>
                        <a:pt x="338" y="240"/>
                        <a:pt x="338" y="240"/>
                      </a:cubicBezTo>
                      <a:cubicBezTo>
                        <a:pt x="327" y="250"/>
                        <a:pt x="316" y="247"/>
                        <a:pt x="316" y="247"/>
                      </a:cubicBezTo>
                      <a:cubicBezTo>
                        <a:pt x="302" y="247"/>
                        <a:pt x="296" y="259"/>
                        <a:pt x="296" y="259"/>
                      </a:cubicBezTo>
                      <a:cubicBezTo>
                        <a:pt x="286" y="255"/>
                        <a:pt x="268" y="279"/>
                        <a:pt x="268" y="279"/>
                      </a:cubicBezTo>
                      <a:cubicBezTo>
                        <a:pt x="258" y="285"/>
                        <a:pt x="267" y="303"/>
                        <a:pt x="249" y="302"/>
                      </a:cubicBezTo>
                      <a:cubicBezTo>
                        <a:pt x="240" y="315"/>
                        <a:pt x="229" y="327"/>
                        <a:pt x="217" y="331"/>
                      </a:cubicBezTo>
                      <a:cubicBezTo>
                        <a:pt x="195" y="337"/>
                        <a:pt x="176" y="331"/>
                        <a:pt x="176" y="331"/>
                      </a:cubicBezTo>
                      <a:cubicBezTo>
                        <a:pt x="171" y="324"/>
                        <a:pt x="165" y="319"/>
                        <a:pt x="165" y="319"/>
                      </a:cubicBezTo>
                      <a:cubicBezTo>
                        <a:pt x="163" y="310"/>
                        <a:pt x="148" y="314"/>
                        <a:pt x="148" y="314"/>
                      </a:cubicBezTo>
                      <a:cubicBezTo>
                        <a:pt x="138" y="311"/>
                        <a:pt x="133" y="297"/>
                        <a:pt x="133" y="297"/>
                      </a:cubicBezTo>
                      <a:cubicBezTo>
                        <a:pt x="134" y="291"/>
                        <a:pt x="143" y="296"/>
                        <a:pt x="154" y="285"/>
                      </a:cubicBezTo>
                      <a:cubicBezTo>
                        <a:pt x="154" y="274"/>
                        <a:pt x="140" y="267"/>
                        <a:pt x="161" y="246"/>
                      </a:cubicBezTo>
                      <a:cubicBezTo>
                        <a:pt x="165" y="226"/>
                        <a:pt x="153" y="205"/>
                        <a:pt x="153" y="205"/>
                      </a:cubicBezTo>
                      <a:cubicBezTo>
                        <a:pt x="144" y="190"/>
                        <a:pt x="128" y="185"/>
                        <a:pt x="128" y="185"/>
                      </a:cubicBezTo>
                      <a:cubicBezTo>
                        <a:pt x="110" y="202"/>
                        <a:pt x="103" y="189"/>
                        <a:pt x="103" y="189"/>
                      </a:cubicBezTo>
                      <a:cubicBezTo>
                        <a:pt x="101" y="183"/>
                        <a:pt x="85" y="171"/>
                        <a:pt x="85" y="171"/>
                      </a:cubicBezTo>
                      <a:cubicBezTo>
                        <a:pt x="63" y="154"/>
                        <a:pt x="52" y="160"/>
                        <a:pt x="52" y="160"/>
                      </a:cubicBezTo>
                      <a:cubicBezTo>
                        <a:pt x="44" y="158"/>
                        <a:pt x="36" y="173"/>
                        <a:pt x="25" y="167"/>
                      </a:cubicBezTo>
                      <a:cubicBezTo>
                        <a:pt x="0" y="153"/>
                        <a:pt x="25" y="138"/>
                        <a:pt x="25" y="138"/>
                      </a:cubicBezTo>
                      <a:cubicBezTo>
                        <a:pt x="27" y="131"/>
                        <a:pt x="49" y="123"/>
                        <a:pt x="49" y="123"/>
                      </a:cubicBezTo>
                      <a:cubicBezTo>
                        <a:pt x="55" y="110"/>
                        <a:pt x="76" y="101"/>
                        <a:pt x="76" y="101"/>
                      </a:cubicBezTo>
                      <a:cubicBezTo>
                        <a:pt x="84" y="89"/>
                        <a:pt x="98" y="82"/>
                        <a:pt x="98" y="82"/>
                      </a:cubicBezTo>
                      <a:cubicBezTo>
                        <a:pt x="118" y="83"/>
                        <a:pt x="129" y="71"/>
                        <a:pt x="129" y="71"/>
                      </a:cubicBezTo>
                      <a:cubicBezTo>
                        <a:pt x="129" y="71"/>
                        <a:pt x="129" y="71"/>
                        <a:pt x="129" y="71"/>
                      </a:cubicBezTo>
                      <a:cubicBezTo>
                        <a:pt x="148" y="62"/>
                        <a:pt x="148" y="62"/>
                        <a:pt x="148" y="62"/>
                      </a:cubicBezTo>
                      <a:cubicBezTo>
                        <a:pt x="148" y="62"/>
                        <a:pt x="148" y="62"/>
                        <a:pt x="148" y="62"/>
                      </a:cubicBezTo>
                      <a:cubicBezTo>
                        <a:pt x="169" y="68"/>
                        <a:pt x="165" y="58"/>
                        <a:pt x="165" y="58"/>
                      </a:cubicBezTo>
                      <a:cubicBezTo>
                        <a:pt x="165" y="58"/>
                        <a:pt x="165" y="58"/>
                        <a:pt x="165" y="58"/>
                      </a:cubicBezTo>
                      <a:cubicBezTo>
                        <a:pt x="170" y="47"/>
                        <a:pt x="170" y="47"/>
                        <a:pt x="170" y="47"/>
                      </a:cubicBezTo>
                      <a:cubicBezTo>
                        <a:pt x="170" y="47"/>
                        <a:pt x="170" y="47"/>
                        <a:pt x="170" y="47"/>
                      </a:cubicBezTo>
                      <a:cubicBezTo>
                        <a:pt x="148" y="61"/>
                        <a:pt x="158" y="31"/>
                        <a:pt x="158" y="31"/>
                      </a:cubicBezTo>
                      <a:cubicBezTo>
                        <a:pt x="158" y="31"/>
                        <a:pt x="158" y="31"/>
                        <a:pt x="158" y="31"/>
                      </a:cubicBezTo>
                      <a:cubicBezTo>
                        <a:pt x="154" y="21"/>
                        <a:pt x="154" y="21"/>
                        <a:pt x="154" y="21"/>
                      </a:cubicBezTo>
                      <a:cubicBezTo>
                        <a:pt x="154" y="21"/>
                        <a:pt x="154" y="21"/>
                        <a:pt x="154" y="21"/>
                      </a:cubicBezTo>
                      <a:cubicBezTo>
                        <a:pt x="154" y="17"/>
                        <a:pt x="151" y="15"/>
                        <a:pt x="151" y="14"/>
                      </a:cubicBezTo>
                      <a:cubicBezTo>
                        <a:pt x="155" y="10"/>
                        <a:pt x="153" y="2"/>
                        <a:pt x="153" y="2"/>
                      </a:cubicBezTo>
                      <a:cubicBezTo>
                        <a:pt x="161" y="0"/>
                        <a:pt x="168" y="6"/>
                        <a:pt x="168" y="6"/>
                      </a:cubicBezTo>
                      <a:cubicBezTo>
                        <a:pt x="168" y="6"/>
                        <a:pt x="168" y="6"/>
                        <a:pt x="168" y="6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2" name="Line 33"/>
                <p:cNvSpPr>
                  <a:spLocks noChangeShapeType="1"/>
                </p:cNvSpPr>
                <p:nvPr/>
              </p:nvSpPr>
              <p:spPr bwMode="auto">
                <a:xfrm flipV="1">
                  <a:off x="3198402" y="2688930"/>
                  <a:ext cx="1362" cy="26830"/>
                </a:xfrm>
                <a:prstGeom prst="line">
                  <a:avLst/>
                </a:prstGeom>
                <a:noFill/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3" name="Freeform 32"/>
                <p:cNvSpPr>
                  <a:spLocks/>
                </p:cNvSpPr>
                <p:nvPr/>
              </p:nvSpPr>
              <p:spPr bwMode="auto">
                <a:xfrm>
                  <a:off x="3842196" y="4702541"/>
                  <a:ext cx="325299" cy="119395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18" y="37"/>
                    </a:cxn>
                    <a:cxn ang="0">
                      <a:pos x="44" y="24"/>
                    </a:cxn>
                    <a:cxn ang="0">
                      <a:pos x="62" y="16"/>
                    </a:cxn>
                    <a:cxn ang="0">
                      <a:pos x="84" y="8"/>
                    </a:cxn>
                    <a:cxn ang="0">
                      <a:pos x="115" y="5"/>
                    </a:cxn>
                  </a:cxnLst>
                  <a:rect l="0" t="0" r="r" b="b"/>
                  <a:pathLst>
                    <a:path w="115" h="48">
                      <a:moveTo>
                        <a:pt x="0" y="48"/>
                      </a:moveTo>
                      <a:cubicBezTo>
                        <a:pt x="8" y="39"/>
                        <a:pt x="18" y="37"/>
                        <a:pt x="18" y="37"/>
                      </a:cubicBezTo>
                      <a:cubicBezTo>
                        <a:pt x="31" y="24"/>
                        <a:pt x="44" y="24"/>
                        <a:pt x="44" y="24"/>
                      </a:cubicBezTo>
                      <a:cubicBezTo>
                        <a:pt x="51" y="26"/>
                        <a:pt x="62" y="16"/>
                        <a:pt x="62" y="16"/>
                      </a:cubicBezTo>
                      <a:cubicBezTo>
                        <a:pt x="69" y="5"/>
                        <a:pt x="84" y="8"/>
                        <a:pt x="84" y="8"/>
                      </a:cubicBezTo>
                      <a:cubicBezTo>
                        <a:pt x="98" y="0"/>
                        <a:pt x="100" y="14"/>
                        <a:pt x="115" y="5"/>
                      </a:cubicBez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4" name="Freeform 31"/>
                <p:cNvSpPr>
                  <a:spLocks/>
                </p:cNvSpPr>
                <p:nvPr/>
              </p:nvSpPr>
              <p:spPr bwMode="auto">
                <a:xfrm>
                  <a:off x="4726902" y="3911048"/>
                  <a:ext cx="59888" cy="299158"/>
                </a:xfrm>
                <a:custGeom>
                  <a:avLst/>
                  <a:gdLst/>
                  <a:ahLst/>
                  <a:cxnLst>
                    <a:cxn ang="0">
                      <a:pos x="13" y="120"/>
                    </a:cxn>
                    <a:cxn ang="0">
                      <a:pos x="13" y="105"/>
                    </a:cxn>
                    <a:cxn ang="0">
                      <a:pos x="6" y="79"/>
                    </a:cxn>
                    <a:cxn ang="0">
                      <a:pos x="12" y="67"/>
                    </a:cxn>
                    <a:cxn ang="0">
                      <a:pos x="20" y="52"/>
                    </a:cxn>
                    <a:cxn ang="0">
                      <a:pos x="12" y="32"/>
                    </a:cxn>
                    <a:cxn ang="0">
                      <a:pos x="6" y="15"/>
                    </a:cxn>
                    <a:cxn ang="0">
                      <a:pos x="10" y="0"/>
                    </a:cxn>
                  </a:cxnLst>
                  <a:rect l="0" t="0" r="r" b="b"/>
                  <a:pathLst>
                    <a:path w="21" h="120">
                      <a:moveTo>
                        <a:pt x="13" y="120"/>
                      </a:moveTo>
                      <a:cubicBezTo>
                        <a:pt x="8" y="118"/>
                        <a:pt x="13" y="105"/>
                        <a:pt x="13" y="105"/>
                      </a:cubicBezTo>
                      <a:cubicBezTo>
                        <a:pt x="21" y="85"/>
                        <a:pt x="6" y="79"/>
                        <a:pt x="6" y="79"/>
                      </a:cubicBezTo>
                      <a:cubicBezTo>
                        <a:pt x="1" y="71"/>
                        <a:pt x="7" y="65"/>
                        <a:pt x="12" y="67"/>
                      </a:cubicBezTo>
                      <a:cubicBezTo>
                        <a:pt x="20" y="72"/>
                        <a:pt x="20" y="52"/>
                        <a:pt x="20" y="52"/>
                      </a:cubicBezTo>
                      <a:cubicBezTo>
                        <a:pt x="19" y="40"/>
                        <a:pt x="12" y="32"/>
                        <a:pt x="12" y="32"/>
                      </a:cubicBezTo>
                      <a:cubicBezTo>
                        <a:pt x="12" y="23"/>
                        <a:pt x="6" y="15"/>
                        <a:pt x="6" y="15"/>
                      </a:cubicBezTo>
                      <a:cubicBezTo>
                        <a:pt x="0" y="4"/>
                        <a:pt x="10" y="0"/>
                        <a:pt x="10" y="0"/>
                      </a:cubicBezTo>
                    </a:path>
                  </a:pathLst>
                </a:custGeom>
                <a:solidFill>
                  <a:schemeClr val="accent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5" name="Freeform 30"/>
                <p:cNvSpPr>
                  <a:spLocks/>
                </p:cNvSpPr>
                <p:nvPr/>
              </p:nvSpPr>
              <p:spPr bwMode="auto">
                <a:xfrm>
                  <a:off x="4618015" y="3916414"/>
                  <a:ext cx="117053" cy="1341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1" y="0"/>
                    </a:cxn>
                    <a:cxn ang="0">
                      <a:pos x="42" y="6"/>
                    </a:cxn>
                  </a:cxnLst>
                  <a:rect l="0" t="0" r="r" b="b"/>
                  <a:pathLst>
                    <a:path w="42" h="6">
                      <a:moveTo>
                        <a:pt x="0" y="0"/>
                      </a:moveTo>
                      <a:cubicBezTo>
                        <a:pt x="12" y="4"/>
                        <a:pt x="21" y="0"/>
                        <a:pt x="21" y="0"/>
                      </a:cubicBezTo>
                      <a:cubicBezTo>
                        <a:pt x="34" y="1"/>
                        <a:pt x="42" y="6"/>
                        <a:pt x="42" y="6"/>
                      </a:cubicBezTo>
                    </a:path>
                  </a:pathLst>
                </a:custGeom>
                <a:solidFill>
                  <a:srgbClr val="99CCFF"/>
                </a:solidFill>
                <a:ln w="8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6" name="Freeform 29"/>
                <p:cNvSpPr>
                  <a:spLocks/>
                </p:cNvSpPr>
                <p:nvPr/>
              </p:nvSpPr>
              <p:spPr bwMode="auto">
                <a:xfrm>
                  <a:off x="4133468" y="3676284"/>
                  <a:ext cx="42193" cy="14756"/>
                </a:xfrm>
                <a:custGeom>
                  <a:avLst/>
                  <a:gdLst/>
                  <a:ahLst/>
                  <a:cxnLst>
                    <a:cxn ang="0">
                      <a:pos x="15" y="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5" h="6">
                      <a:moveTo>
                        <a:pt x="15" y="6"/>
                      </a:moveTo>
                      <a:cubicBezTo>
                        <a:pt x="14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9CCFF"/>
                </a:solidFill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7" name="Line 28"/>
                <p:cNvSpPr>
                  <a:spLocks noChangeShapeType="1"/>
                </p:cNvSpPr>
                <p:nvPr/>
              </p:nvSpPr>
              <p:spPr bwMode="auto">
                <a:xfrm flipH="1" flipV="1">
                  <a:off x="3612172" y="3452251"/>
                  <a:ext cx="25861" cy="13415"/>
                </a:xfrm>
                <a:prstGeom prst="line">
                  <a:avLst/>
                </a:prstGeom>
                <a:noFill/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8" name="Freeform 27"/>
                <p:cNvSpPr>
                  <a:spLocks/>
                </p:cNvSpPr>
                <p:nvPr/>
              </p:nvSpPr>
              <p:spPr bwMode="auto">
                <a:xfrm>
                  <a:off x="3496480" y="3366394"/>
                  <a:ext cx="65332" cy="55002"/>
                </a:xfrm>
                <a:custGeom>
                  <a:avLst/>
                  <a:gdLst/>
                  <a:ahLst/>
                  <a:cxnLst>
                    <a:cxn ang="0">
                      <a:pos x="23" y="22"/>
                    </a:cxn>
                    <a:cxn ang="0">
                      <a:pos x="15" y="1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3" h="22">
                      <a:moveTo>
                        <a:pt x="23" y="22"/>
                      </a:moveTo>
                      <a:cubicBezTo>
                        <a:pt x="16" y="22"/>
                        <a:pt x="22" y="14"/>
                        <a:pt x="15" y="13"/>
                      </a:cubicBezTo>
                      <a:cubicBezTo>
                        <a:pt x="0" y="6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99CCFF"/>
                </a:solidFill>
                <a:ln w="8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9" name="Freeform 26"/>
                <p:cNvSpPr>
                  <a:spLocks/>
                </p:cNvSpPr>
                <p:nvPr/>
              </p:nvSpPr>
              <p:spPr bwMode="auto">
                <a:xfrm>
                  <a:off x="3474703" y="3248341"/>
                  <a:ext cx="38110" cy="20123"/>
                </a:xfrm>
                <a:custGeom>
                  <a:avLst/>
                  <a:gdLst/>
                  <a:ahLst/>
                  <a:cxnLst>
                    <a:cxn ang="0">
                      <a:pos x="13" y="8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4" h="8">
                      <a:moveTo>
                        <a:pt x="13" y="8"/>
                      </a:moveTo>
                      <a:cubicBezTo>
                        <a:pt x="14" y="0"/>
                        <a:pt x="0" y="4"/>
                        <a:pt x="0" y="4"/>
                      </a:cubicBezTo>
                    </a:path>
                  </a:pathLst>
                </a:custGeom>
                <a:solidFill>
                  <a:srgbClr val="99CCFF"/>
                </a:solidFill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0" name="Freeform 25"/>
                <p:cNvSpPr>
                  <a:spLocks/>
                </p:cNvSpPr>
                <p:nvPr/>
              </p:nvSpPr>
              <p:spPr bwMode="auto">
                <a:xfrm>
                  <a:off x="3192957" y="2988087"/>
                  <a:ext cx="57166" cy="160982"/>
                </a:xfrm>
                <a:custGeom>
                  <a:avLst/>
                  <a:gdLst/>
                  <a:ahLst/>
                  <a:cxnLst>
                    <a:cxn ang="0">
                      <a:pos x="20" y="64"/>
                    </a:cxn>
                    <a:cxn ang="0">
                      <a:pos x="8" y="42"/>
                    </a:cxn>
                    <a:cxn ang="0">
                      <a:pos x="1" y="2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0" h="64">
                      <a:moveTo>
                        <a:pt x="20" y="64"/>
                      </a:moveTo>
                      <a:cubicBezTo>
                        <a:pt x="10" y="54"/>
                        <a:pt x="8" y="42"/>
                        <a:pt x="8" y="42"/>
                      </a:cubicBezTo>
                      <a:cubicBezTo>
                        <a:pt x="0" y="30"/>
                        <a:pt x="1" y="21"/>
                        <a:pt x="1" y="21"/>
                      </a:cubicBezTo>
                      <a:cubicBezTo>
                        <a:pt x="3" y="9"/>
                        <a:pt x="0" y="0"/>
                        <a:pt x="0" y="0"/>
                      </a:cubicBez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1" name="Freeform 24"/>
                <p:cNvSpPr>
                  <a:spLocks/>
                </p:cNvSpPr>
                <p:nvPr/>
              </p:nvSpPr>
              <p:spPr bwMode="auto">
                <a:xfrm>
                  <a:off x="4141635" y="4206181"/>
                  <a:ext cx="710487" cy="517824"/>
                </a:xfrm>
                <a:custGeom>
                  <a:avLst/>
                  <a:gdLst/>
                  <a:ahLst/>
                  <a:cxnLst>
                    <a:cxn ang="0">
                      <a:pos x="0" y="207"/>
                    </a:cxn>
                    <a:cxn ang="0">
                      <a:pos x="25" y="196"/>
                    </a:cxn>
                    <a:cxn ang="0">
                      <a:pos x="51" y="181"/>
                    </a:cxn>
                    <a:cxn ang="0">
                      <a:pos x="55" y="162"/>
                    </a:cxn>
                    <a:cxn ang="0">
                      <a:pos x="71" y="141"/>
                    </a:cxn>
                    <a:cxn ang="0">
                      <a:pos x="89" y="106"/>
                    </a:cxn>
                    <a:cxn ang="0">
                      <a:pos x="107" y="97"/>
                    </a:cxn>
                    <a:cxn ang="0">
                      <a:pos x="93" y="87"/>
                    </a:cxn>
                    <a:cxn ang="0">
                      <a:pos x="111" y="82"/>
                    </a:cxn>
                    <a:cxn ang="0">
                      <a:pos x="134" y="68"/>
                    </a:cxn>
                    <a:cxn ang="0">
                      <a:pos x="153" y="62"/>
                    </a:cxn>
                    <a:cxn ang="0">
                      <a:pos x="153" y="62"/>
                    </a:cxn>
                    <a:cxn ang="0">
                      <a:pos x="176" y="63"/>
                    </a:cxn>
                    <a:cxn ang="0">
                      <a:pos x="193" y="74"/>
                    </a:cxn>
                    <a:cxn ang="0">
                      <a:pos x="193" y="74"/>
                    </a:cxn>
                    <a:cxn ang="0">
                      <a:pos x="215" y="78"/>
                    </a:cxn>
                    <a:cxn ang="0">
                      <a:pos x="235" y="71"/>
                    </a:cxn>
                    <a:cxn ang="0">
                      <a:pos x="248" y="54"/>
                    </a:cxn>
                    <a:cxn ang="0">
                      <a:pos x="236" y="27"/>
                    </a:cxn>
                    <a:cxn ang="0">
                      <a:pos x="219" y="1"/>
                    </a:cxn>
                    <a:cxn ang="0">
                      <a:pos x="220" y="34"/>
                    </a:cxn>
                    <a:cxn ang="0">
                      <a:pos x="195" y="53"/>
                    </a:cxn>
                    <a:cxn ang="0">
                      <a:pos x="195" y="53"/>
                    </a:cxn>
                    <a:cxn ang="0">
                      <a:pos x="172" y="50"/>
                    </a:cxn>
                    <a:cxn ang="0">
                      <a:pos x="172" y="50"/>
                    </a:cxn>
                    <a:cxn ang="0">
                      <a:pos x="143" y="51"/>
                    </a:cxn>
                    <a:cxn ang="0">
                      <a:pos x="119" y="49"/>
                    </a:cxn>
                    <a:cxn ang="0">
                      <a:pos x="103" y="60"/>
                    </a:cxn>
                    <a:cxn ang="0">
                      <a:pos x="86" y="56"/>
                    </a:cxn>
                    <a:cxn ang="0">
                      <a:pos x="83" y="80"/>
                    </a:cxn>
                    <a:cxn ang="0">
                      <a:pos x="77" y="113"/>
                    </a:cxn>
                    <a:cxn ang="0">
                      <a:pos x="64" y="127"/>
                    </a:cxn>
                    <a:cxn ang="0">
                      <a:pos x="54" y="148"/>
                    </a:cxn>
                    <a:cxn ang="0">
                      <a:pos x="44" y="168"/>
                    </a:cxn>
                    <a:cxn ang="0">
                      <a:pos x="31" y="188"/>
                    </a:cxn>
                    <a:cxn ang="0">
                      <a:pos x="16" y="195"/>
                    </a:cxn>
                    <a:cxn ang="0">
                      <a:pos x="0" y="207"/>
                    </a:cxn>
                    <a:cxn ang="0">
                      <a:pos x="0" y="207"/>
                    </a:cxn>
                  </a:cxnLst>
                  <a:rect l="0" t="0" r="r" b="b"/>
                  <a:pathLst>
                    <a:path w="251" h="207">
                      <a:moveTo>
                        <a:pt x="0" y="207"/>
                      </a:moveTo>
                      <a:cubicBezTo>
                        <a:pt x="18" y="206"/>
                        <a:pt x="25" y="196"/>
                        <a:pt x="25" y="196"/>
                      </a:cubicBezTo>
                      <a:cubicBezTo>
                        <a:pt x="52" y="196"/>
                        <a:pt x="51" y="181"/>
                        <a:pt x="51" y="181"/>
                      </a:cubicBezTo>
                      <a:cubicBezTo>
                        <a:pt x="51" y="181"/>
                        <a:pt x="56" y="176"/>
                        <a:pt x="55" y="162"/>
                      </a:cubicBezTo>
                      <a:cubicBezTo>
                        <a:pt x="73" y="151"/>
                        <a:pt x="71" y="141"/>
                        <a:pt x="71" y="141"/>
                      </a:cubicBezTo>
                      <a:cubicBezTo>
                        <a:pt x="88" y="122"/>
                        <a:pt x="89" y="106"/>
                        <a:pt x="89" y="106"/>
                      </a:cubicBezTo>
                      <a:cubicBezTo>
                        <a:pt x="95" y="97"/>
                        <a:pt x="107" y="97"/>
                        <a:pt x="107" y="97"/>
                      </a:cubicBezTo>
                      <a:cubicBezTo>
                        <a:pt x="108" y="90"/>
                        <a:pt x="93" y="97"/>
                        <a:pt x="93" y="87"/>
                      </a:cubicBezTo>
                      <a:cubicBezTo>
                        <a:pt x="93" y="83"/>
                        <a:pt x="103" y="82"/>
                        <a:pt x="111" y="82"/>
                      </a:cubicBezTo>
                      <a:cubicBezTo>
                        <a:pt x="133" y="81"/>
                        <a:pt x="134" y="68"/>
                        <a:pt x="134" y="68"/>
                      </a:cubicBezTo>
                      <a:cubicBezTo>
                        <a:pt x="150" y="69"/>
                        <a:pt x="153" y="62"/>
                        <a:pt x="153" y="62"/>
                      </a:cubicBezTo>
                      <a:cubicBezTo>
                        <a:pt x="153" y="62"/>
                        <a:pt x="153" y="62"/>
                        <a:pt x="153" y="62"/>
                      </a:cubicBezTo>
                      <a:cubicBezTo>
                        <a:pt x="176" y="63"/>
                        <a:pt x="176" y="63"/>
                        <a:pt x="176" y="63"/>
                      </a:cubicBezTo>
                      <a:cubicBezTo>
                        <a:pt x="193" y="74"/>
                        <a:pt x="193" y="74"/>
                        <a:pt x="193" y="74"/>
                      </a:cubicBezTo>
                      <a:cubicBezTo>
                        <a:pt x="193" y="74"/>
                        <a:pt x="193" y="74"/>
                        <a:pt x="193" y="74"/>
                      </a:cubicBezTo>
                      <a:cubicBezTo>
                        <a:pt x="205" y="88"/>
                        <a:pt x="215" y="78"/>
                        <a:pt x="215" y="78"/>
                      </a:cubicBezTo>
                      <a:cubicBezTo>
                        <a:pt x="220" y="72"/>
                        <a:pt x="235" y="71"/>
                        <a:pt x="235" y="71"/>
                      </a:cubicBezTo>
                      <a:cubicBezTo>
                        <a:pt x="251" y="73"/>
                        <a:pt x="248" y="54"/>
                        <a:pt x="248" y="54"/>
                      </a:cubicBezTo>
                      <a:cubicBezTo>
                        <a:pt x="248" y="37"/>
                        <a:pt x="236" y="27"/>
                        <a:pt x="236" y="27"/>
                      </a:cubicBezTo>
                      <a:cubicBezTo>
                        <a:pt x="227" y="0"/>
                        <a:pt x="219" y="1"/>
                        <a:pt x="219" y="1"/>
                      </a:cubicBezTo>
                      <a:cubicBezTo>
                        <a:pt x="231" y="29"/>
                        <a:pt x="220" y="34"/>
                        <a:pt x="220" y="34"/>
                      </a:cubicBezTo>
                      <a:cubicBezTo>
                        <a:pt x="212" y="59"/>
                        <a:pt x="195" y="53"/>
                        <a:pt x="195" y="53"/>
                      </a:cubicBezTo>
                      <a:cubicBezTo>
                        <a:pt x="195" y="53"/>
                        <a:pt x="195" y="53"/>
                        <a:pt x="195" y="53"/>
                      </a:cubicBezTo>
                      <a:cubicBezTo>
                        <a:pt x="172" y="50"/>
                        <a:pt x="172" y="50"/>
                        <a:pt x="172" y="50"/>
                      </a:cubicBezTo>
                      <a:cubicBezTo>
                        <a:pt x="172" y="50"/>
                        <a:pt x="172" y="50"/>
                        <a:pt x="172" y="50"/>
                      </a:cubicBezTo>
                      <a:cubicBezTo>
                        <a:pt x="158" y="43"/>
                        <a:pt x="143" y="51"/>
                        <a:pt x="143" y="51"/>
                      </a:cubicBezTo>
                      <a:cubicBezTo>
                        <a:pt x="127" y="43"/>
                        <a:pt x="119" y="49"/>
                        <a:pt x="119" y="49"/>
                      </a:cubicBezTo>
                      <a:cubicBezTo>
                        <a:pt x="118" y="67"/>
                        <a:pt x="103" y="60"/>
                        <a:pt x="103" y="60"/>
                      </a:cubicBezTo>
                      <a:cubicBezTo>
                        <a:pt x="98" y="50"/>
                        <a:pt x="86" y="56"/>
                        <a:pt x="86" y="56"/>
                      </a:cubicBezTo>
                      <a:cubicBezTo>
                        <a:pt x="73" y="67"/>
                        <a:pt x="83" y="71"/>
                        <a:pt x="83" y="80"/>
                      </a:cubicBezTo>
                      <a:cubicBezTo>
                        <a:pt x="93" y="97"/>
                        <a:pt x="77" y="113"/>
                        <a:pt x="77" y="113"/>
                      </a:cubicBezTo>
                      <a:cubicBezTo>
                        <a:pt x="73" y="124"/>
                        <a:pt x="64" y="127"/>
                        <a:pt x="64" y="127"/>
                      </a:cubicBezTo>
                      <a:cubicBezTo>
                        <a:pt x="66" y="138"/>
                        <a:pt x="54" y="148"/>
                        <a:pt x="54" y="148"/>
                      </a:cubicBezTo>
                      <a:cubicBezTo>
                        <a:pt x="36" y="158"/>
                        <a:pt x="44" y="168"/>
                        <a:pt x="44" y="168"/>
                      </a:cubicBezTo>
                      <a:cubicBezTo>
                        <a:pt x="45" y="189"/>
                        <a:pt x="31" y="188"/>
                        <a:pt x="31" y="188"/>
                      </a:cubicBezTo>
                      <a:cubicBezTo>
                        <a:pt x="24" y="185"/>
                        <a:pt x="16" y="195"/>
                        <a:pt x="16" y="195"/>
                      </a:cubicBezTo>
                      <a:cubicBezTo>
                        <a:pt x="12" y="203"/>
                        <a:pt x="0" y="207"/>
                        <a:pt x="0" y="207"/>
                      </a:cubicBezTo>
                      <a:cubicBezTo>
                        <a:pt x="0" y="207"/>
                        <a:pt x="0" y="207"/>
                        <a:pt x="0" y="20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2" name="Freeform 23"/>
                <p:cNvSpPr>
                  <a:spLocks/>
                </p:cNvSpPr>
                <p:nvPr/>
              </p:nvSpPr>
              <p:spPr bwMode="auto">
                <a:xfrm>
                  <a:off x="4743235" y="3842631"/>
                  <a:ext cx="63971" cy="73783"/>
                </a:xfrm>
                <a:custGeom>
                  <a:avLst/>
                  <a:gdLst/>
                  <a:ahLst/>
                  <a:cxnLst>
                    <a:cxn ang="0">
                      <a:pos x="7" y="29"/>
                    </a:cxn>
                    <a:cxn ang="0">
                      <a:pos x="13" y="0"/>
                    </a:cxn>
                    <a:cxn ang="0">
                      <a:pos x="7" y="29"/>
                    </a:cxn>
                    <a:cxn ang="0">
                      <a:pos x="7" y="29"/>
                    </a:cxn>
                  </a:cxnLst>
                  <a:rect l="0" t="0" r="r" b="b"/>
                  <a:pathLst>
                    <a:path w="23" h="29">
                      <a:moveTo>
                        <a:pt x="7" y="29"/>
                      </a:moveTo>
                      <a:cubicBezTo>
                        <a:pt x="23" y="23"/>
                        <a:pt x="13" y="0"/>
                        <a:pt x="13" y="0"/>
                      </a:cubicBezTo>
                      <a:cubicBezTo>
                        <a:pt x="0" y="20"/>
                        <a:pt x="7" y="29"/>
                        <a:pt x="7" y="29"/>
                      </a:cubicBezTo>
                      <a:cubicBezTo>
                        <a:pt x="7" y="29"/>
                        <a:pt x="7" y="29"/>
                        <a:pt x="7" y="29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3" name="Freeform 22"/>
                <p:cNvSpPr>
                  <a:spLocks/>
                </p:cNvSpPr>
                <p:nvPr/>
              </p:nvSpPr>
              <p:spPr bwMode="auto">
                <a:xfrm>
                  <a:off x="4157968" y="3676284"/>
                  <a:ext cx="460047" cy="241472"/>
                </a:xfrm>
                <a:custGeom>
                  <a:avLst/>
                  <a:gdLst/>
                  <a:ahLst/>
                  <a:cxnLst>
                    <a:cxn ang="0">
                      <a:pos x="162" y="94"/>
                    </a:cxn>
                    <a:cxn ang="0">
                      <a:pos x="124" y="65"/>
                    </a:cxn>
                    <a:cxn ang="0">
                      <a:pos x="75" y="34"/>
                    </a:cxn>
                    <a:cxn ang="0">
                      <a:pos x="82" y="23"/>
                    </a:cxn>
                    <a:cxn ang="0">
                      <a:pos x="56" y="20"/>
                    </a:cxn>
                    <a:cxn ang="0">
                      <a:pos x="32" y="16"/>
                    </a:cxn>
                    <a:cxn ang="0">
                      <a:pos x="2" y="2"/>
                    </a:cxn>
                    <a:cxn ang="0">
                      <a:pos x="19" y="20"/>
                    </a:cxn>
                    <a:cxn ang="0">
                      <a:pos x="35" y="20"/>
                    </a:cxn>
                    <a:cxn ang="0">
                      <a:pos x="53" y="34"/>
                    </a:cxn>
                    <a:cxn ang="0">
                      <a:pos x="67" y="45"/>
                    </a:cxn>
                    <a:cxn ang="0">
                      <a:pos x="77" y="50"/>
                    </a:cxn>
                    <a:cxn ang="0">
                      <a:pos x="93" y="59"/>
                    </a:cxn>
                    <a:cxn ang="0">
                      <a:pos x="115" y="73"/>
                    </a:cxn>
                    <a:cxn ang="0">
                      <a:pos x="129" y="86"/>
                    </a:cxn>
                    <a:cxn ang="0">
                      <a:pos x="149" y="91"/>
                    </a:cxn>
                    <a:cxn ang="0">
                      <a:pos x="162" y="94"/>
                    </a:cxn>
                    <a:cxn ang="0">
                      <a:pos x="162" y="94"/>
                    </a:cxn>
                  </a:cxnLst>
                  <a:rect l="0" t="0" r="r" b="b"/>
                  <a:pathLst>
                    <a:path w="162" h="97">
                      <a:moveTo>
                        <a:pt x="162" y="94"/>
                      </a:moveTo>
                      <a:cubicBezTo>
                        <a:pt x="149" y="82"/>
                        <a:pt x="135" y="71"/>
                        <a:pt x="124" y="65"/>
                      </a:cubicBezTo>
                      <a:cubicBezTo>
                        <a:pt x="91" y="46"/>
                        <a:pt x="94" y="33"/>
                        <a:pt x="75" y="34"/>
                      </a:cubicBezTo>
                      <a:cubicBezTo>
                        <a:pt x="82" y="28"/>
                        <a:pt x="82" y="23"/>
                        <a:pt x="82" y="23"/>
                      </a:cubicBezTo>
                      <a:cubicBezTo>
                        <a:pt x="64" y="34"/>
                        <a:pt x="56" y="20"/>
                        <a:pt x="56" y="20"/>
                      </a:cubicBezTo>
                      <a:cubicBezTo>
                        <a:pt x="50" y="16"/>
                        <a:pt x="32" y="16"/>
                        <a:pt x="32" y="16"/>
                      </a:cubicBezTo>
                      <a:cubicBezTo>
                        <a:pt x="26" y="0"/>
                        <a:pt x="2" y="2"/>
                        <a:pt x="2" y="2"/>
                      </a:cubicBezTo>
                      <a:cubicBezTo>
                        <a:pt x="0" y="9"/>
                        <a:pt x="16" y="2"/>
                        <a:pt x="19" y="20"/>
                      </a:cubicBezTo>
                      <a:cubicBezTo>
                        <a:pt x="26" y="31"/>
                        <a:pt x="35" y="20"/>
                        <a:pt x="35" y="20"/>
                      </a:cubicBezTo>
                      <a:cubicBezTo>
                        <a:pt x="53" y="26"/>
                        <a:pt x="53" y="34"/>
                        <a:pt x="53" y="34"/>
                      </a:cubicBezTo>
                      <a:cubicBezTo>
                        <a:pt x="64" y="34"/>
                        <a:pt x="67" y="45"/>
                        <a:pt x="67" y="45"/>
                      </a:cubicBezTo>
                      <a:cubicBezTo>
                        <a:pt x="79" y="41"/>
                        <a:pt x="77" y="50"/>
                        <a:pt x="77" y="50"/>
                      </a:cubicBezTo>
                      <a:cubicBezTo>
                        <a:pt x="91" y="50"/>
                        <a:pt x="93" y="59"/>
                        <a:pt x="93" y="59"/>
                      </a:cubicBezTo>
                      <a:cubicBezTo>
                        <a:pt x="96" y="67"/>
                        <a:pt x="107" y="60"/>
                        <a:pt x="115" y="73"/>
                      </a:cubicBezTo>
                      <a:cubicBezTo>
                        <a:pt x="128" y="71"/>
                        <a:pt x="129" y="86"/>
                        <a:pt x="129" y="86"/>
                      </a:cubicBezTo>
                      <a:cubicBezTo>
                        <a:pt x="141" y="86"/>
                        <a:pt x="149" y="91"/>
                        <a:pt x="149" y="91"/>
                      </a:cubicBezTo>
                      <a:cubicBezTo>
                        <a:pt x="154" y="97"/>
                        <a:pt x="162" y="94"/>
                        <a:pt x="162" y="94"/>
                      </a:cubicBezTo>
                      <a:cubicBezTo>
                        <a:pt x="162" y="94"/>
                        <a:pt x="162" y="94"/>
                        <a:pt x="162" y="9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4" name="Freeform 21"/>
                <p:cNvSpPr>
                  <a:spLocks/>
                </p:cNvSpPr>
                <p:nvPr/>
              </p:nvSpPr>
              <p:spPr bwMode="auto">
                <a:xfrm>
                  <a:off x="3496480" y="3260415"/>
                  <a:ext cx="58526" cy="124760"/>
                </a:xfrm>
                <a:custGeom>
                  <a:avLst/>
                  <a:gdLst/>
                  <a:ahLst/>
                  <a:cxnLst>
                    <a:cxn ang="0">
                      <a:pos x="3" y="48"/>
                    </a:cxn>
                    <a:cxn ang="0">
                      <a:pos x="18" y="27"/>
                    </a:cxn>
                    <a:cxn ang="0">
                      <a:pos x="8" y="4"/>
                    </a:cxn>
                    <a:cxn ang="0">
                      <a:pos x="0" y="23"/>
                    </a:cxn>
                    <a:cxn ang="0">
                      <a:pos x="3" y="48"/>
                    </a:cxn>
                    <a:cxn ang="0">
                      <a:pos x="3" y="48"/>
                    </a:cxn>
                  </a:cxnLst>
                  <a:rect l="0" t="0" r="r" b="b"/>
                  <a:pathLst>
                    <a:path w="21" h="50">
                      <a:moveTo>
                        <a:pt x="3" y="48"/>
                      </a:moveTo>
                      <a:cubicBezTo>
                        <a:pt x="15" y="50"/>
                        <a:pt x="18" y="27"/>
                        <a:pt x="18" y="27"/>
                      </a:cubicBezTo>
                      <a:cubicBezTo>
                        <a:pt x="21" y="4"/>
                        <a:pt x="8" y="4"/>
                        <a:pt x="8" y="4"/>
                      </a:cubicBezTo>
                      <a:cubicBezTo>
                        <a:pt x="2" y="0"/>
                        <a:pt x="0" y="23"/>
                        <a:pt x="0" y="23"/>
                      </a:cubicBezTo>
                      <a:cubicBezTo>
                        <a:pt x="5" y="32"/>
                        <a:pt x="3" y="48"/>
                        <a:pt x="3" y="48"/>
                      </a:cubicBezTo>
                      <a:cubicBezTo>
                        <a:pt x="3" y="48"/>
                        <a:pt x="3" y="48"/>
                        <a:pt x="3" y="48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5" name="Freeform 20"/>
                <p:cNvSpPr>
                  <a:spLocks/>
                </p:cNvSpPr>
                <p:nvPr/>
              </p:nvSpPr>
              <p:spPr bwMode="auto">
                <a:xfrm>
                  <a:off x="3587672" y="3446885"/>
                  <a:ext cx="579823" cy="277694"/>
                </a:xfrm>
                <a:custGeom>
                  <a:avLst/>
                  <a:gdLst/>
                  <a:ahLst/>
                  <a:cxnLst>
                    <a:cxn ang="0">
                      <a:pos x="117" y="44"/>
                    </a:cxn>
                    <a:cxn ang="0">
                      <a:pos x="80" y="26"/>
                    </a:cxn>
                    <a:cxn ang="0">
                      <a:pos x="51" y="17"/>
                    </a:cxn>
                    <a:cxn ang="0">
                      <a:pos x="36" y="0"/>
                    </a:cxn>
                    <a:cxn ang="0">
                      <a:pos x="31" y="9"/>
                    </a:cxn>
                    <a:cxn ang="0">
                      <a:pos x="40" y="22"/>
                    </a:cxn>
                    <a:cxn ang="0">
                      <a:pos x="65" y="44"/>
                    </a:cxn>
                    <a:cxn ang="0">
                      <a:pos x="91" y="56"/>
                    </a:cxn>
                    <a:cxn ang="0">
                      <a:pos x="120" y="74"/>
                    </a:cxn>
                    <a:cxn ang="0">
                      <a:pos x="127" y="94"/>
                    </a:cxn>
                    <a:cxn ang="0">
                      <a:pos x="153" y="92"/>
                    </a:cxn>
                    <a:cxn ang="0">
                      <a:pos x="157" y="111"/>
                    </a:cxn>
                    <a:cxn ang="0">
                      <a:pos x="157" y="111"/>
                    </a:cxn>
                    <a:cxn ang="0">
                      <a:pos x="181" y="110"/>
                    </a:cxn>
                    <a:cxn ang="0">
                      <a:pos x="181" y="110"/>
                    </a:cxn>
                    <a:cxn ang="0">
                      <a:pos x="180" y="95"/>
                    </a:cxn>
                    <a:cxn ang="0">
                      <a:pos x="197" y="103"/>
                    </a:cxn>
                    <a:cxn ang="0">
                      <a:pos x="205" y="91"/>
                    </a:cxn>
                    <a:cxn ang="0">
                      <a:pos x="182" y="86"/>
                    </a:cxn>
                    <a:cxn ang="0">
                      <a:pos x="158" y="59"/>
                    </a:cxn>
                    <a:cxn ang="0">
                      <a:pos x="150" y="48"/>
                    </a:cxn>
                    <a:cxn ang="0">
                      <a:pos x="126" y="21"/>
                    </a:cxn>
                    <a:cxn ang="0">
                      <a:pos x="120" y="11"/>
                    </a:cxn>
                    <a:cxn ang="0">
                      <a:pos x="118" y="31"/>
                    </a:cxn>
                    <a:cxn ang="0">
                      <a:pos x="117" y="44"/>
                    </a:cxn>
                    <a:cxn ang="0">
                      <a:pos x="117" y="44"/>
                    </a:cxn>
                  </a:cxnLst>
                  <a:rect l="0" t="0" r="r" b="b"/>
                  <a:pathLst>
                    <a:path w="205" h="111">
                      <a:moveTo>
                        <a:pt x="117" y="44"/>
                      </a:moveTo>
                      <a:cubicBezTo>
                        <a:pt x="98" y="41"/>
                        <a:pt x="80" y="26"/>
                        <a:pt x="80" y="26"/>
                      </a:cubicBezTo>
                      <a:cubicBezTo>
                        <a:pt x="75" y="11"/>
                        <a:pt x="51" y="17"/>
                        <a:pt x="51" y="17"/>
                      </a:cubicBezTo>
                      <a:cubicBezTo>
                        <a:pt x="47" y="2"/>
                        <a:pt x="36" y="0"/>
                        <a:pt x="36" y="0"/>
                      </a:cubicBezTo>
                      <a:cubicBezTo>
                        <a:pt x="32" y="0"/>
                        <a:pt x="31" y="9"/>
                        <a:pt x="31" y="9"/>
                      </a:cubicBezTo>
                      <a:cubicBezTo>
                        <a:pt x="0" y="4"/>
                        <a:pt x="40" y="22"/>
                        <a:pt x="40" y="22"/>
                      </a:cubicBezTo>
                      <a:cubicBezTo>
                        <a:pt x="61" y="34"/>
                        <a:pt x="65" y="44"/>
                        <a:pt x="65" y="44"/>
                      </a:cubicBezTo>
                      <a:cubicBezTo>
                        <a:pt x="91" y="48"/>
                        <a:pt x="91" y="56"/>
                        <a:pt x="91" y="56"/>
                      </a:cubicBezTo>
                      <a:cubicBezTo>
                        <a:pt x="116" y="66"/>
                        <a:pt x="120" y="74"/>
                        <a:pt x="120" y="74"/>
                      </a:cubicBezTo>
                      <a:cubicBezTo>
                        <a:pt x="133" y="81"/>
                        <a:pt x="127" y="94"/>
                        <a:pt x="127" y="94"/>
                      </a:cubicBezTo>
                      <a:cubicBezTo>
                        <a:pt x="132" y="98"/>
                        <a:pt x="138" y="86"/>
                        <a:pt x="153" y="92"/>
                      </a:cubicBezTo>
                      <a:cubicBezTo>
                        <a:pt x="189" y="96"/>
                        <a:pt x="157" y="111"/>
                        <a:pt x="157" y="111"/>
                      </a:cubicBezTo>
                      <a:cubicBezTo>
                        <a:pt x="157" y="111"/>
                        <a:pt x="157" y="111"/>
                        <a:pt x="157" y="111"/>
                      </a:cubicBezTo>
                      <a:cubicBezTo>
                        <a:pt x="181" y="110"/>
                        <a:pt x="181" y="110"/>
                        <a:pt x="181" y="110"/>
                      </a:cubicBezTo>
                      <a:cubicBezTo>
                        <a:pt x="181" y="110"/>
                        <a:pt x="181" y="110"/>
                        <a:pt x="181" y="110"/>
                      </a:cubicBezTo>
                      <a:cubicBezTo>
                        <a:pt x="171" y="97"/>
                        <a:pt x="180" y="95"/>
                        <a:pt x="180" y="95"/>
                      </a:cubicBezTo>
                      <a:cubicBezTo>
                        <a:pt x="194" y="97"/>
                        <a:pt x="197" y="103"/>
                        <a:pt x="197" y="103"/>
                      </a:cubicBezTo>
                      <a:cubicBezTo>
                        <a:pt x="196" y="96"/>
                        <a:pt x="205" y="91"/>
                        <a:pt x="205" y="91"/>
                      </a:cubicBezTo>
                      <a:cubicBezTo>
                        <a:pt x="188" y="96"/>
                        <a:pt x="182" y="86"/>
                        <a:pt x="182" y="86"/>
                      </a:cubicBezTo>
                      <a:cubicBezTo>
                        <a:pt x="174" y="72"/>
                        <a:pt x="158" y="59"/>
                        <a:pt x="158" y="59"/>
                      </a:cubicBezTo>
                      <a:cubicBezTo>
                        <a:pt x="157" y="52"/>
                        <a:pt x="150" y="48"/>
                        <a:pt x="150" y="48"/>
                      </a:cubicBezTo>
                      <a:cubicBezTo>
                        <a:pt x="146" y="33"/>
                        <a:pt x="126" y="21"/>
                        <a:pt x="126" y="21"/>
                      </a:cubicBezTo>
                      <a:cubicBezTo>
                        <a:pt x="120" y="20"/>
                        <a:pt x="120" y="11"/>
                        <a:pt x="120" y="11"/>
                      </a:cubicBezTo>
                      <a:cubicBezTo>
                        <a:pt x="104" y="25"/>
                        <a:pt x="118" y="31"/>
                        <a:pt x="118" y="31"/>
                      </a:cubicBezTo>
                      <a:cubicBezTo>
                        <a:pt x="124" y="44"/>
                        <a:pt x="117" y="44"/>
                        <a:pt x="117" y="44"/>
                      </a:cubicBezTo>
                      <a:cubicBezTo>
                        <a:pt x="117" y="44"/>
                        <a:pt x="117" y="44"/>
                        <a:pt x="117" y="4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6" name="Freeform 19"/>
                <p:cNvSpPr>
                  <a:spLocks/>
                </p:cNvSpPr>
                <p:nvPr/>
              </p:nvSpPr>
              <p:spPr bwMode="auto">
                <a:xfrm>
                  <a:off x="3561812" y="3418713"/>
                  <a:ext cx="63971" cy="46953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9" y="6"/>
                    </a:cxn>
                    <a:cxn ang="0">
                      <a:pos x="19" y="6"/>
                    </a:cxn>
                    <a:cxn ang="0">
                      <a:pos x="23" y="17"/>
                    </a:cxn>
                    <a:cxn ang="0">
                      <a:pos x="23" y="17"/>
                    </a:cxn>
                    <a:cxn ang="0">
                      <a:pos x="14" y="7"/>
                    </a:cxn>
                    <a:cxn ang="0">
                      <a:pos x="0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3" h="19">
                      <a:moveTo>
                        <a:pt x="0" y="2"/>
                      </a:moveTo>
                      <a:cubicBezTo>
                        <a:pt x="9" y="0"/>
                        <a:pt x="19" y="6"/>
                        <a:pt x="19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cubicBezTo>
                        <a:pt x="19" y="19"/>
                        <a:pt x="14" y="7"/>
                        <a:pt x="14" y="7"/>
                      </a:cubicBezTo>
                      <a:cubicBezTo>
                        <a:pt x="9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4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7" name="Freeform 18"/>
                <p:cNvSpPr>
                  <a:spLocks/>
                </p:cNvSpPr>
                <p:nvPr/>
              </p:nvSpPr>
              <p:spPr bwMode="auto">
                <a:xfrm>
                  <a:off x="3250123" y="3132971"/>
                  <a:ext cx="231385" cy="165006"/>
                </a:xfrm>
                <a:custGeom>
                  <a:avLst/>
                  <a:gdLst/>
                  <a:ahLst/>
                  <a:cxnLst>
                    <a:cxn ang="0">
                      <a:pos x="32" y="37"/>
                    </a:cxn>
                    <a:cxn ang="0">
                      <a:pos x="13" y="24"/>
                    </a:cxn>
                    <a:cxn ang="0">
                      <a:pos x="0" y="6"/>
                    </a:cxn>
                    <a:cxn ang="0">
                      <a:pos x="11" y="31"/>
                    </a:cxn>
                    <a:cxn ang="0">
                      <a:pos x="39" y="53"/>
                    </a:cxn>
                    <a:cxn ang="0">
                      <a:pos x="66" y="64"/>
                    </a:cxn>
                    <a:cxn ang="0">
                      <a:pos x="82" y="51"/>
                    </a:cxn>
                    <a:cxn ang="0">
                      <a:pos x="64" y="51"/>
                    </a:cxn>
                    <a:cxn ang="0">
                      <a:pos x="47" y="50"/>
                    </a:cxn>
                    <a:cxn ang="0">
                      <a:pos x="47" y="50"/>
                    </a:cxn>
                    <a:cxn ang="0">
                      <a:pos x="32" y="37"/>
                    </a:cxn>
                  </a:cxnLst>
                  <a:rect l="0" t="0" r="r" b="b"/>
                  <a:pathLst>
                    <a:path w="82" h="66">
                      <a:moveTo>
                        <a:pt x="32" y="37"/>
                      </a:moveTo>
                      <a:cubicBezTo>
                        <a:pt x="32" y="37"/>
                        <a:pt x="31" y="27"/>
                        <a:pt x="13" y="24"/>
                      </a:cubicBezTo>
                      <a:cubicBezTo>
                        <a:pt x="3" y="0"/>
                        <a:pt x="0" y="6"/>
                        <a:pt x="0" y="6"/>
                      </a:cubicBezTo>
                      <a:cubicBezTo>
                        <a:pt x="0" y="6"/>
                        <a:pt x="4" y="27"/>
                        <a:pt x="11" y="31"/>
                      </a:cubicBezTo>
                      <a:cubicBezTo>
                        <a:pt x="17" y="35"/>
                        <a:pt x="24" y="32"/>
                        <a:pt x="39" y="53"/>
                      </a:cubicBezTo>
                      <a:cubicBezTo>
                        <a:pt x="52" y="66"/>
                        <a:pt x="66" y="64"/>
                        <a:pt x="66" y="64"/>
                      </a:cubicBezTo>
                      <a:cubicBezTo>
                        <a:pt x="76" y="62"/>
                        <a:pt x="82" y="51"/>
                        <a:pt x="82" y="51"/>
                      </a:cubicBezTo>
                      <a:cubicBezTo>
                        <a:pt x="82" y="46"/>
                        <a:pt x="64" y="51"/>
                        <a:pt x="64" y="51"/>
                      </a:cubicBezTo>
                      <a:cubicBezTo>
                        <a:pt x="55" y="54"/>
                        <a:pt x="55" y="49"/>
                        <a:pt x="47" y="50"/>
                      </a:cubicBezTo>
                      <a:cubicBezTo>
                        <a:pt x="47" y="50"/>
                        <a:pt x="47" y="50"/>
                        <a:pt x="47" y="50"/>
                      </a:cubicBezTo>
                      <a:cubicBezTo>
                        <a:pt x="32" y="37"/>
                        <a:pt x="32" y="37"/>
                        <a:pt x="32" y="37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8" name="Freeform 17"/>
                <p:cNvSpPr>
                  <a:spLocks/>
                </p:cNvSpPr>
                <p:nvPr/>
              </p:nvSpPr>
              <p:spPr bwMode="auto">
                <a:xfrm>
                  <a:off x="3111292" y="2668807"/>
                  <a:ext cx="119776" cy="316597"/>
                </a:xfrm>
                <a:custGeom>
                  <a:avLst/>
                  <a:gdLst/>
                  <a:ahLst/>
                  <a:cxnLst>
                    <a:cxn ang="0">
                      <a:pos x="29" y="126"/>
                    </a:cxn>
                    <a:cxn ang="0">
                      <a:pos x="15" y="88"/>
                    </a:cxn>
                    <a:cxn ang="0">
                      <a:pos x="11" y="51"/>
                    </a:cxn>
                    <a:cxn ang="0">
                      <a:pos x="0" y="48"/>
                    </a:cxn>
                    <a:cxn ang="0">
                      <a:pos x="25" y="23"/>
                    </a:cxn>
                    <a:cxn ang="0">
                      <a:pos x="37" y="16"/>
                    </a:cxn>
                    <a:cxn ang="0">
                      <a:pos x="35" y="35"/>
                    </a:cxn>
                    <a:cxn ang="0">
                      <a:pos x="35" y="57"/>
                    </a:cxn>
                    <a:cxn ang="0">
                      <a:pos x="32" y="99"/>
                    </a:cxn>
                    <a:cxn ang="0">
                      <a:pos x="29" y="126"/>
                    </a:cxn>
                    <a:cxn ang="0">
                      <a:pos x="29" y="126"/>
                    </a:cxn>
                  </a:cxnLst>
                  <a:rect l="0" t="0" r="r" b="b"/>
                  <a:pathLst>
                    <a:path w="42" h="126">
                      <a:moveTo>
                        <a:pt x="29" y="126"/>
                      </a:moveTo>
                      <a:cubicBezTo>
                        <a:pt x="5" y="120"/>
                        <a:pt x="15" y="88"/>
                        <a:pt x="15" y="88"/>
                      </a:cubicBezTo>
                      <a:cubicBezTo>
                        <a:pt x="31" y="58"/>
                        <a:pt x="11" y="51"/>
                        <a:pt x="11" y="51"/>
                      </a:cubicBezTo>
                      <a:cubicBezTo>
                        <a:pt x="9" y="45"/>
                        <a:pt x="0" y="48"/>
                        <a:pt x="0" y="48"/>
                      </a:cubicBezTo>
                      <a:cubicBezTo>
                        <a:pt x="17" y="41"/>
                        <a:pt x="25" y="23"/>
                        <a:pt x="25" y="23"/>
                      </a:cubicBezTo>
                      <a:cubicBezTo>
                        <a:pt x="32" y="0"/>
                        <a:pt x="37" y="16"/>
                        <a:pt x="37" y="16"/>
                      </a:cubicBezTo>
                      <a:cubicBezTo>
                        <a:pt x="40" y="28"/>
                        <a:pt x="28" y="36"/>
                        <a:pt x="35" y="35"/>
                      </a:cubicBezTo>
                      <a:cubicBezTo>
                        <a:pt x="42" y="37"/>
                        <a:pt x="28" y="51"/>
                        <a:pt x="35" y="57"/>
                      </a:cubicBezTo>
                      <a:cubicBezTo>
                        <a:pt x="32" y="63"/>
                        <a:pt x="36" y="92"/>
                        <a:pt x="32" y="99"/>
                      </a:cubicBezTo>
                      <a:cubicBezTo>
                        <a:pt x="28" y="106"/>
                        <a:pt x="29" y="126"/>
                        <a:pt x="29" y="126"/>
                      </a:cubicBezTo>
                      <a:cubicBezTo>
                        <a:pt x="29" y="126"/>
                        <a:pt x="29" y="126"/>
                        <a:pt x="29" y="12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9" name="Freeform 43"/>
                <p:cNvSpPr>
                  <a:spLocks/>
                </p:cNvSpPr>
                <p:nvPr/>
              </p:nvSpPr>
              <p:spPr bwMode="auto">
                <a:xfrm>
                  <a:off x="5220976" y="3505911"/>
                  <a:ext cx="894234" cy="1097357"/>
                </a:xfrm>
                <a:custGeom>
                  <a:avLst/>
                  <a:gdLst/>
                  <a:ahLst/>
                  <a:cxnLst>
                    <a:cxn ang="0">
                      <a:pos x="26" y="135"/>
                    </a:cxn>
                    <a:cxn ang="0">
                      <a:pos x="44" y="135"/>
                    </a:cxn>
                    <a:cxn ang="0">
                      <a:pos x="40" y="180"/>
                    </a:cxn>
                    <a:cxn ang="0">
                      <a:pos x="48" y="205"/>
                    </a:cxn>
                    <a:cxn ang="0">
                      <a:pos x="34" y="230"/>
                    </a:cxn>
                    <a:cxn ang="0">
                      <a:pos x="14" y="244"/>
                    </a:cxn>
                    <a:cxn ang="0">
                      <a:pos x="15" y="270"/>
                    </a:cxn>
                    <a:cxn ang="0">
                      <a:pos x="29" y="289"/>
                    </a:cxn>
                    <a:cxn ang="0">
                      <a:pos x="54" y="314"/>
                    </a:cxn>
                    <a:cxn ang="0">
                      <a:pos x="85" y="330"/>
                    </a:cxn>
                    <a:cxn ang="0">
                      <a:pos x="91" y="347"/>
                    </a:cxn>
                    <a:cxn ang="0">
                      <a:pos x="75" y="361"/>
                    </a:cxn>
                    <a:cxn ang="0">
                      <a:pos x="59" y="385"/>
                    </a:cxn>
                    <a:cxn ang="0">
                      <a:pos x="94" y="415"/>
                    </a:cxn>
                    <a:cxn ang="0">
                      <a:pos x="87" y="439"/>
                    </a:cxn>
                    <a:cxn ang="0">
                      <a:pos x="123" y="434"/>
                    </a:cxn>
                    <a:cxn ang="0">
                      <a:pos x="220" y="389"/>
                    </a:cxn>
                    <a:cxn ang="0">
                      <a:pos x="230" y="358"/>
                    </a:cxn>
                    <a:cxn ang="0">
                      <a:pos x="229" y="331"/>
                    </a:cxn>
                    <a:cxn ang="0">
                      <a:pos x="265" y="281"/>
                    </a:cxn>
                    <a:cxn ang="0">
                      <a:pos x="285" y="255"/>
                    </a:cxn>
                    <a:cxn ang="0">
                      <a:pos x="312" y="235"/>
                    </a:cxn>
                    <a:cxn ang="0">
                      <a:pos x="312" y="223"/>
                    </a:cxn>
                    <a:cxn ang="0">
                      <a:pos x="296" y="207"/>
                    </a:cxn>
                    <a:cxn ang="0">
                      <a:pos x="253" y="188"/>
                    </a:cxn>
                    <a:cxn ang="0">
                      <a:pos x="215" y="140"/>
                    </a:cxn>
                    <a:cxn ang="0">
                      <a:pos x="204" y="96"/>
                    </a:cxn>
                    <a:cxn ang="0">
                      <a:pos x="195" y="67"/>
                    </a:cxn>
                    <a:cxn ang="0">
                      <a:pos x="172" y="46"/>
                    </a:cxn>
                    <a:cxn ang="0">
                      <a:pos x="161" y="18"/>
                    </a:cxn>
                    <a:cxn ang="0">
                      <a:pos x="145" y="6"/>
                    </a:cxn>
                    <a:cxn ang="0">
                      <a:pos x="106" y="14"/>
                    </a:cxn>
                    <a:cxn ang="0">
                      <a:pos x="102" y="33"/>
                    </a:cxn>
                    <a:cxn ang="0">
                      <a:pos x="78" y="70"/>
                    </a:cxn>
                    <a:cxn ang="0">
                      <a:pos x="58" y="86"/>
                    </a:cxn>
                    <a:cxn ang="0">
                      <a:pos x="37" y="91"/>
                    </a:cxn>
                    <a:cxn ang="0">
                      <a:pos x="15" y="104"/>
                    </a:cxn>
                    <a:cxn ang="0">
                      <a:pos x="19" y="127"/>
                    </a:cxn>
                  </a:cxnLst>
                  <a:rect l="0" t="0" r="r" b="b"/>
                  <a:pathLst>
                    <a:path w="316" h="439">
                      <a:moveTo>
                        <a:pt x="19" y="127"/>
                      </a:moveTo>
                      <a:cubicBezTo>
                        <a:pt x="34" y="131"/>
                        <a:pt x="26" y="135"/>
                        <a:pt x="26" y="135"/>
                      </a:cubicBezTo>
                      <a:cubicBezTo>
                        <a:pt x="20" y="141"/>
                        <a:pt x="30" y="145"/>
                        <a:pt x="31" y="137"/>
                      </a:cubicBezTo>
                      <a:cubicBezTo>
                        <a:pt x="37" y="131"/>
                        <a:pt x="44" y="135"/>
                        <a:pt x="44" y="135"/>
                      </a:cubicBezTo>
                      <a:cubicBezTo>
                        <a:pt x="44" y="138"/>
                        <a:pt x="33" y="144"/>
                        <a:pt x="37" y="155"/>
                      </a:cubicBezTo>
                      <a:cubicBezTo>
                        <a:pt x="32" y="180"/>
                        <a:pt x="40" y="180"/>
                        <a:pt x="40" y="180"/>
                      </a:cubicBezTo>
                      <a:cubicBezTo>
                        <a:pt x="50" y="182"/>
                        <a:pt x="51" y="193"/>
                        <a:pt x="51" y="193"/>
                      </a:cubicBezTo>
                      <a:cubicBezTo>
                        <a:pt x="55" y="202"/>
                        <a:pt x="48" y="205"/>
                        <a:pt x="48" y="205"/>
                      </a:cubicBezTo>
                      <a:cubicBezTo>
                        <a:pt x="40" y="206"/>
                        <a:pt x="48" y="220"/>
                        <a:pt x="48" y="220"/>
                      </a:cubicBezTo>
                      <a:cubicBezTo>
                        <a:pt x="55" y="237"/>
                        <a:pt x="34" y="230"/>
                        <a:pt x="34" y="230"/>
                      </a:cubicBezTo>
                      <a:cubicBezTo>
                        <a:pt x="21" y="215"/>
                        <a:pt x="14" y="226"/>
                        <a:pt x="14" y="226"/>
                      </a:cubicBezTo>
                      <a:cubicBezTo>
                        <a:pt x="5" y="237"/>
                        <a:pt x="14" y="244"/>
                        <a:pt x="14" y="244"/>
                      </a:cubicBezTo>
                      <a:cubicBezTo>
                        <a:pt x="24" y="252"/>
                        <a:pt x="14" y="255"/>
                        <a:pt x="14" y="255"/>
                      </a:cubicBezTo>
                      <a:cubicBezTo>
                        <a:pt x="0" y="257"/>
                        <a:pt x="15" y="270"/>
                        <a:pt x="15" y="270"/>
                      </a:cubicBezTo>
                      <a:cubicBezTo>
                        <a:pt x="16" y="279"/>
                        <a:pt x="21" y="278"/>
                        <a:pt x="21" y="278"/>
                      </a:cubicBezTo>
                      <a:cubicBezTo>
                        <a:pt x="28" y="278"/>
                        <a:pt x="29" y="289"/>
                        <a:pt x="29" y="289"/>
                      </a:cubicBezTo>
                      <a:cubicBezTo>
                        <a:pt x="33" y="297"/>
                        <a:pt x="39" y="308"/>
                        <a:pt x="39" y="308"/>
                      </a:cubicBezTo>
                      <a:cubicBezTo>
                        <a:pt x="49" y="305"/>
                        <a:pt x="54" y="314"/>
                        <a:pt x="54" y="314"/>
                      </a:cubicBezTo>
                      <a:cubicBezTo>
                        <a:pt x="58" y="321"/>
                        <a:pt x="62" y="308"/>
                        <a:pt x="69" y="319"/>
                      </a:cubicBezTo>
                      <a:cubicBezTo>
                        <a:pt x="77" y="320"/>
                        <a:pt x="85" y="330"/>
                        <a:pt x="85" y="330"/>
                      </a:cubicBezTo>
                      <a:cubicBezTo>
                        <a:pt x="103" y="329"/>
                        <a:pt x="97" y="340"/>
                        <a:pt x="97" y="340"/>
                      </a:cubicBezTo>
                      <a:cubicBezTo>
                        <a:pt x="79" y="344"/>
                        <a:pt x="91" y="347"/>
                        <a:pt x="91" y="347"/>
                      </a:cubicBezTo>
                      <a:cubicBezTo>
                        <a:pt x="91" y="347"/>
                        <a:pt x="99" y="351"/>
                        <a:pt x="85" y="354"/>
                      </a:cubicBezTo>
                      <a:cubicBezTo>
                        <a:pt x="78" y="353"/>
                        <a:pt x="87" y="365"/>
                        <a:pt x="75" y="361"/>
                      </a:cubicBezTo>
                      <a:cubicBezTo>
                        <a:pt x="54" y="363"/>
                        <a:pt x="65" y="373"/>
                        <a:pt x="65" y="373"/>
                      </a:cubicBezTo>
                      <a:cubicBezTo>
                        <a:pt x="70" y="380"/>
                        <a:pt x="59" y="385"/>
                        <a:pt x="59" y="385"/>
                      </a:cubicBezTo>
                      <a:cubicBezTo>
                        <a:pt x="78" y="389"/>
                        <a:pt x="78" y="405"/>
                        <a:pt x="78" y="405"/>
                      </a:cubicBezTo>
                      <a:cubicBezTo>
                        <a:pt x="99" y="405"/>
                        <a:pt x="94" y="415"/>
                        <a:pt x="94" y="415"/>
                      </a:cubicBezTo>
                      <a:cubicBezTo>
                        <a:pt x="96" y="422"/>
                        <a:pt x="89" y="423"/>
                        <a:pt x="89" y="423"/>
                      </a:cubicBezTo>
                      <a:cubicBezTo>
                        <a:pt x="72" y="426"/>
                        <a:pt x="87" y="439"/>
                        <a:pt x="87" y="439"/>
                      </a:cubicBezTo>
                      <a:cubicBezTo>
                        <a:pt x="89" y="437"/>
                        <a:pt x="92" y="435"/>
                        <a:pt x="95" y="434"/>
                      </a:cubicBezTo>
                      <a:cubicBezTo>
                        <a:pt x="95" y="434"/>
                        <a:pt x="110" y="418"/>
                        <a:pt x="123" y="434"/>
                      </a:cubicBezTo>
                      <a:cubicBezTo>
                        <a:pt x="123" y="434"/>
                        <a:pt x="130" y="415"/>
                        <a:pt x="150" y="395"/>
                      </a:cubicBezTo>
                      <a:cubicBezTo>
                        <a:pt x="180" y="397"/>
                        <a:pt x="191" y="384"/>
                        <a:pt x="220" y="389"/>
                      </a:cubicBezTo>
                      <a:cubicBezTo>
                        <a:pt x="220" y="389"/>
                        <a:pt x="224" y="387"/>
                        <a:pt x="230" y="384"/>
                      </a:cubicBezTo>
                      <a:cubicBezTo>
                        <a:pt x="230" y="372"/>
                        <a:pt x="221" y="366"/>
                        <a:pt x="230" y="358"/>
                      </a:cubicBezTo>
                      <a:cubicBezTo>
                        <a:pt x="237" y="355"/>
                        <a:pt x="242" y="345"/>
                        <a:pt x="230" y="346"/>
                      </a:cubicBezTo>
                      <a:cubicBezTo>
                        <a:pt x="220" y="347"/>
                        <a:pt x="229" y="331"/>
                        <a:pt x="229" y="331"/>
                      </a:cubicBezTo>
                      <a:cubicBezTo>
                        <a:pt x="233" y="325"/>
                        <a:pt x="224" y="299"/>
                        <a:pt x="238" y="288"/>
                      </a:cubicBezTo>
                      <a:cubicBezTo>
                        <a:pt x="249" y="279"/>
                        <a:pt x="254" y="285"/>
                        <a:pt x="265" y="281"/>
                      </a:cubicBezTo>
                      <a:cubicBezTo>
                        <a:pt x="278" y="275"/>
                        <a:pt x="268" y="268"/>
                        <a:pt x="278" y="269"/>
                      </a:cubicBezTo>
                      <a:cubicBezTo>
                        <a:pt x="288" y="270"/>
                        <a:pt x="285" y="255"/>
                        <a:pt x="285" y="255"/>
                      </a:cubicBezTo>
                      <a:cubicBezTo>
                        <a:pt x="283" y="230"/>
                        <a:pt x="303" y="234"/>
                        <a:pt x="303" y="234"/>
                      </a:cubicBezTo>
                      <a:cubicBezTo>
                        <a:pt x="306" y="234"/>
                        <a:pt x="309" y="235"/>
                        <a:pt x="312" y="235"/>
                      </a:cubicBezTo>
                      <a:cubicBezTo>
                        <a:pt x="312" y="235"/>
                        <a:pt x="312" y="235"/>
                        <a:pt x="312" y="235"/>
                      </a:cubicBezTo>
                      <a:cubicBezTo>
                        <a:pt x="312" y="223"/>
                        <a:pt x="312" y="223"/>
                        <a:pt x="312" y="223"/>
                      </a:cubicBezTo>
                      <a:cubicBezTo>
                        <a:pt x="312" y="223"/>
                        <a:pt x="312" y="223"/>
                        <a:pt x="312" y="223"/>
                      </a:cubicBezTo>
                      <a:cubicBezTo>
                        <a:pt x="312" y="223"/>
                        <a:pt x="316" y="208"/>
                        <a:pt x="296" y="207"/>
                      </a:cubicBezTo>
                      <a:cubicBezTo>
                        <a:pt x="296" y="207"/>
                        <a:pt x="283" y="212"/>
                        <a:pt x="279" y="201"/>
                      </a:cubicBezTo>
                      <a:cubicBezTo>
                        <a:pt x="279" y="201"/>
                        <a:pt x="289" y="193"/>
                        <a:pt x="253" y="188"/>
                      </a:cubicBezTo>
                      <a:cubicBezTo>
                        <a:pt x="253" y="188"/>
                        <a:pt x="257" y="172"/>
                        <a:pt x="231" y="149"/>
                      </a:cubicBezTo>
                      <a:cubicBezTo>
                        <a:pt x="231" y="149"/>
                        <a:pt x="233" y="141"/>
                        <a:pt x="215" y="140"/>
                      </a:cubicBezTo>
                      <a:cubicBezTo>
                        <a:pt x="216" y="124"/>
                        <a:pt x="205" y="130"/>
                        <a:pt x="206" y="117"/>
                      </a:cubicBezTo>
                      <a:cubicBezTo>
                        <a:pt x="206" y="117"/>
                        <a:pt x="198" y="113"/>
                        <a:pt x="204" y="96"/>
                      </a:cubicBezTo>
                      <a:cubicBezTo>
                        <a:pt x="211" y="92"/>
                        <a:pt x="198" y="88"/>
                        <a:pt x="202" y="83"/>
                      </a:cubicBezTo>
                      <a:cubicBezTo>
                        <a:pt x="202" y="83"/>
                        <a:pt x="214" y="81"/>
                        <a:pt x="195" y="67"/>
                      </a:cubicBezTo>
                      <a:cubicBezTo>
                        <a:pt x="195" y="67"/>
                        <a:pt x="198" y="54"/>
                        <a:pt x="181" y="54"/>
                      </a:cubicBezTo>
                      <a:cubicBezTo>
                        <a:pt x="181" y="54"/>
                        <a:pt x="159" y="55"/>
                        <a:pt x="172" y="46"/>
                      </a:cubicBezTo>
                      <a:cubicBezTo>
                        <a:pt x="182" y="43"/>
                        <a:pt x="170" y="39"/>
                        <a:pt x="172" y="30"/>
                      </a:cubicBezTo>
                      <a:cubicBezTo>
                        <a:pt x="172" y="30"/>
                        <a:pt x="175" y="11"/>
                        <a:pt x="161" y="18"/>
                      </a:cubicBezTo>
                      <a:cubicBezTo>
                        <a:pt x="161" y="18"/>
                        <a:pt x="151" y="20"/>
                        <a:pt x="153" y="14"/>
                      </a:cubicBezTo>
                      <a:cubicBezTo>
                        <a:pt x="153" y="14"/>
                        <a:pt x="155" y="7"/>
                        <a:pt x="145" y="6"/>
                      </a:cubicBezTo>
                      <a:cubicBezTo>
                        <a:pt x="138" y="11"/>
                        <a:pt x="122" y="9"/>
                        <a:pt x="122" y="9"/>
                      </a:cubicBezTo>
                      <a:cubicBezTo>
                        <a:pt x="111" y="0"/>
                        <a:pt x="106" y="14"/>
                        <a:pt x="106" y="14"/>
                      </a:cubicBezTo>
                      <a:cubicBezTo>
                        <a:pt x="103" y="20"/>
                        <a:pt x="117" y="12"/>
                        <a:pt x="117" y="19"/>
                      </a:cubicBezTo>
                      <a:cubicBezTo>
                        <a:pt x="117" y="28"/>
                        <a:pt x="102" y="33"/>
                        <a:pt x="102" y="33"/>
                      </a:cubicBezTo>
                      <a:cubicBezTo>
                        <a:pt x="84" y="47"/>
                        <a:pt x="84" y="55"/>
                        <a:pt x="84" y="55"/>
                      </a:cubicBezTo>
                      <a:cubicBezTo>
                        <a:pt x="90" y="66"/>
                        <a:pt x="78" y="70"/>
                        <a:pt x="78" y="70"/>
                      </a:cubicBezTo>
                      <a:cubicBezTo>
                        <a:pt x="65" y="76"/>
                        <a:pt x="70" y="87"/>
                        <a:pt x="70" y="87"/>
                      </a:cubicBezTo>
                      <a:cubicBezTo>
                        <a:pt x="64" y="80"/>
                        <a:pt x="58" y="86"/>
                        <a:pt x="58" y="86"/>
                      </a:cubicBezTo>
                      <a:cubicBezTo>
                        <a:pt x="47" y="91"/>
                        <a:pt x="52" y="97"/>
                        <a:pt x="52" y="97"/>
                      </a:cubicBezTo>
                      <a:cubicBezTo>
                        <a:pt x="44" y="97"/>
                        <a:pt x="37" y="91"/>
                        <a:pt x="37" y="91"/>
                      </a:cubicBezTo>
                      <a:cubicBezTo>
                        <a:pt x="34" y="92"/>
                        <a:pt x="33" y="101"/>
                        <a:pt x="28" y="98"/>
                      </a:cubicBezTo>
                      <a:cubicBezTo>
                        <a:pt x="13" y="91"/>
                        <a:pt x="15" y="104"/>
                        <a:pt x="15" y="104"/>
                      </a:cubicBezTo>
                      <a:cubicBezTo>
                        <a:pt x="14" y="113"/>
                        <a:pt x="22" y="110"/>
                        <a:pt x="19" y="127"/>
                      </a:cubicBezTo>
                      <a:cubicBezTo>
                        <a:pt x="19" y="127"/>
                        <a:pt x="19" y="127"/>
                        <a:pt x="19" y="127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201" name="Oval 147"/>
              <p:cNvSpPr/>
              <p:nvPr/>
            </p:nvSpPr>
            <p:spPr bwMode="auto">
              <a:xfrm>
                <a:off x="5124994" y="2409362"/>
                <a:ext cx="142891" cy="142863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 eaLnBrk="0" hangingPunct="0">
                  <a:defRPr/>
                </a:pPr>
                <a:endParaRPr lang="uk-UA" sz="1000" u="sng" dirty="0">
                  <a:solidFill>
                    <a:prstClr val="black"/>
                  </a:solidFill>
                  <a:latin typeface="Calibri" panose="020F0502020204030204" pitchFamily="34" charset="0"/>
                  <a:ea typeface="MS PGothic" pitchFamily="34" charset="-128"/>
                </a:endParaRPr>
              </a:p>
            </p:txBody>
          </p:sp>
          <p:sp>
            <p:nvSpPr>
              <p:cNvPr id="202" name="Freeform 164"/>
              <p:cNvSpPr>
                <a:spLocks noChangeAspect="1"/>
              </p:cNvSpPr>
              <p:nvPr/>
            </p:nvSpPr>
            <p:spPr bwMode="auto">
              <a:xfrm>
                <a:off x="8116178" y="3195111"/>
                <a:ext cx="871635" cy="971471"/>
              </a:xfrm>
              <a:custGeom>
                <a:avLst/>
                <a:gdLst>
                  <a:gd name="connsiteX0" fmla="*/ 127000 w 828675"/>
                  <a:gd name="connsiteY0" fmla="*/ 885825 h 885825"/>
                  <a:gd name="connsiteX1" fmla="*/ 244475 w 828675"/>
                  <a:gd name="connsiteY1" fmla="*/ 873125 h 885825"/>
                  <a:gd name="connsiteX2" fmla="*/ 234950 w 828675"/>
                  <a:gd name="connsiteY2" fmla="*/ 809625 h 885825"/>
                  <a:gd name="connsiteX3" fmla="*/ 266700 w 828675"/>
                  <a:gd name="connsiteY3" fmla="*/ 774700 h 885825"/>
                  <a:gd name="connsiteX4" fmla="*/ 228600 w 828675"/>
                  <a:gd name="connsiteY4" fmla="*/ 765175 h 885825"/>
                  <a:gd name="connsiteX5" fmla="*/ 247650 w 828675"/>
                  <a:gd name="connsiteY5" fmla="*/ 720725 h 885825"/>
                  <a:gd name="connsiteX6" fmla="*/ 244475 w 828675"/>
                  <a:gd name="connsiteY6" fmla="*/ 622300 h 885825"/>
                  <a:gd name="connsiteX7" fmla="*/ 285750 w 828675"/>
                  <a:gd name="connsiteY7" fmla="*/ 600075 h 885825"/>
                  <a:gd name="connsiteX8" fmla="*/ 361950 w 828675"/>
                  <a:gd name="connsiteY8" fmla="*/ 587375 h 885825"/>
                  <a:gd name="connsiteX9" fmla="*/ 381000 w 828675"/>
                  <a:gd name="connsiteY9" fmla="*/ 561975 h 885825"/>
                  <a:gd name="connsiteX10" fmla="*/ 419100 w 828675"/>
                  <a:gd name="connsiteY10" fmla="*/ 552450 h 885825"/>
                  <a:gd name="connsiteX11" fmla="*/ 412750 w 828675"/>
                  <a:gd name="connsiteY11" fmla="*/ 504825 h 885825"/>
                  <a:gd name="connsiteX12" fmla="*/ 434975 w 828675"/>
                  <a:gd name="connsiteY12" fmla="*/ 454025 h 885825"/>
                  <a:gd name="connsiteX13" fmla="*/ 476250 w 828675"/>
                  <a:gd name="connsiteY13" fmla="*/ 463550 h 885825"/>
                  <a:gd name="connsiteX14" fmla="*/ 774700 w 828675"/>
                  <a:gd name="connsiteY14" fmla="*/ 450850 h 885825"/>
                  <a:gd name="connsiteX15" fmla="*/ 781050 w 828675"/>
                  <a:gd name="connsiteY15" fmla="*/ 304800 h 885825"/>
                  <a:gd name="connsiteX16" fmla="*/ 828675 w 828675"/>
                  <a:gd name="connsiteY16" fmla="*/ 222250 h 885825"/>
                  <a:gd name="connsiteX17" fmla="*/ 774700 w 828675"/>
                  <a:gd name="connsiteY17" fmla="*/ 222250 h 885825"/>
                  <a:gd name="connsiteX18" fmla="*/ 774700 w 828675"/>
                  <a:gd name="connsiteY18" fmla="*/ 209550 h 885825"/>
                  <a:gd name="connsiteX19" fmla="*/ 787400 w 828675"/>
                  <a:gd name="connsiteY19" fmla="*/ 190500 h 885825"/>
                  <a:gd name="connsiteX20" fmla="*/ 768350 w 828675"/>
                  <a:gd name="connsiteY20" fmla="*/ 139700 h 885825"/>
                  <a:gd name="connsiteX21" fmla="*/ 749300 w 828675"/>
                  <a:gd name="connsiteY21" fmla="*/ 101600 h 885825"/>
                  <a:gd name="connsiteX22" fmla="*/ 717550 w 828675"/>
                  <a:gd name="connsiteY22" fmla="*/ 88900 h 885825"/>
                  <a:gd name="connsiteX23" fmla="*/ 698500 w 828675"/>
                  <a:gd name="connsiteY23" fmla="*/ 92075 h 885825"/>
                  <a:gd name="connsiteX24" fmla="*/ 603250 w 828675"/>
                  <a:gd name="connsiteY24" fmla="*/ 69850 h 885825"/>
                  <a:gd name="connsiteX25" fmla="*/ 542925 w 828675"/>
                  <a:gd name="connsiteY25" fmla="*/ 0 h 885825"/>
                  <a:gd name="connsiteX26" fmla="*/ 520700 w 828675"/>
                  <a:gd name="connsiteY26" fmla="*/ 47625 h 885825"/>
                  <a:gd name="connsiteX27" fmla="*/ 454025 w 828675"/>
                  <a:gd name="connsiteY27" fmla="*/ 63500 h 885825"/>
                  <a:gd name="connsiteX28" fmla="*/ 419100 w 828675"/>
                  <a:gd name="connsiteY28" fmla="*/ 12700 h 885825"/>
                  <a:gd name="connsiteX29" fmla="*/ 381000 w 828675"/>
                  <a:gd name="connsiteY29" fmla="*/ 44450 h 885825"/>
                  <a:gd name="connsiteX30" fmla="*/ 314325 w 828675"/>
                  <a:gd name="connsiteY30" fmla="*/ 76200 h 885825"/>
                  <a:gd name="connsiteX31" fmla="*/ 276225 w 828675"/>
                  <a:gd name="connsiteY31" fmla="*/ 117475 h 885825"/>
                  <a:gd name="connsiteX32" fmla="*/ 241300 w 828675"/>
                  <a:gd name="connsiteY32" fmla="*/ 203200 h 885825"/>
                  <a:gd name="connsiteX33" fmla="*/ 196850 w 828675"/>
                  <a:gd name="connsiteY33" fmla="*/ 228600 h 885825"/>
                  <a:gd name="connsiteX34" fmla="*/ 149225 w 828675"/>
                  <a:gd name="connsiteY34" fmla="*/ 203200 h 885825"/>
                  <a:gd name="connsiteX35" fmla="*/ 95250 w 828675"/>
                  <a:gd name="connsiteY35" fmla="*/ 247650 h 885825"/>
                  <a:gd name="connsiteX36" fmla="*/ 60325 w 828675"/>
                  <a:gd name="connsiteY36" fmla="*/ 279400 h 885825"/>
                  <a:gd name="connsiteX37" fmla="*/ 85725 w 828675"/>
                  <a:gd name="connsiteY37" fmla="*/ 323850 h 885825"/>
                  <a:gd name="connsiteX38" fmla="*/ 104775 w 828675"/>
                  <a:gd name="connsiteY38" fmla="*/ 349250 h 885825"/>
                  <a:gd name="connsiteX39" fmla="*/ 95250 w 828675"/>
                  <a:gd name="connsiteY39" fmla="*/ 381000 h 885825"/>
                  <a:gd name="connsiteX40" fmla="*/ 85725 w 828675"/>
                  <a:gd name="connsiteY40" fmla="*/ 428625 h 885825"/>
                  <a:gd name="connsiteX41" fmla="*/ 31750 w 828675"/>
                  <a:gd name="connsiteY41" fmla="*/ 444500 h 885825"/>
                  <a:gd name="connsiteX42" fmla="*/ 9525 w 828675"/>
                  <a:gd name="connsiteY42" fmla="*/ 476250 h 885825"/>
                  <a:gd name="connsiteX43" fmla="*/ 0 w 828675"/>
                  <a:gd name="connsiteY43" fmla="*/ 520700 h 885825"/>
                  <a:gd name="connsiteX44" fmla="*/ 15875 w 828675"/>
                  <a:gd name="connsiteY44" fmla="*/ 565150 h 885825"/>
                  <a:gd name="connsiteX45" fmla="*/ 28575 w 828675"/>
                  <a:gd name="connsiteY45" fmla="*/ 587375 h 885825"/>
                  <a:gd name="connsiteX46" fmla="*/ 63500 w 828675"/>
                  <a:gd name="connsiteY46" fmla="*/ 584200 h 885825"/>
                  <a:gd name="connsiteX47" fmla="*/ 76200 w 828675"/>
                  <a:gd name="connsiteY47" fmla="*/ 631825 h 885825"/>
                  <a:gd name="connsiteX48" fmla="*/ 92075 w 828675"/>
                  <a:gd name="connsiteY48" fmla="*/ 654050 h 885825"/>
                  <a:gd name="connsiteX49" fmla="*/ 114300 w 828675"/>
                  <a:gd name="connsiteY49" fmla="*/ 692150 h 885825"/>
                  <a:gd name="connsiteX50" fmla="*/ 107950 w 828675"/>
                  <a:gd name="connsiteY50" fmla="*/ 727075 h 885825"/>
                  <a:gd name="connsiteX51" fmla="*/ 133350 w 828675"/>
                  <a:gd name="connsiteY51" fmla="*/ 777875 h 885825"/>
                  <a:gd name="connsiteX52" fmla="*/ 130175 w 828675"/>
                  <a:gd name="connsiteY52" fmla="*/ 828675 h 885825"/>
                  <a:gd name="connsiteX53" fmla="*/ 127000 w 828675"/>
                  <a:gd name="connsiteY53" fmla="*/ 885825 h 885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828675" h="885825">
                    <a:moveTo>
                      <a:pt x="127000" y="885825"/>
                    </a:moveTo>
                    <a:lnTo>
                      <a:pt x="244475" y="873125"/>
                    </a:lnTo>
                    <a:lnTo>
                      <a:pt x="234950" y="809625"/>
                    </a:lnTo>
                    <a:lnTo>
                      <a:pt x="266700" y="774700"/>
                    </a:lnTo>
                    <a:lnTo>
                      <a:pt x="228600" y="765175"/>
                    </a:lnTo>
                    <a:lnTo>
                      <a:pt x="247650" y="720725"/>
                    </a:lnTo>
                    <a:lnTo>
                      <a:pt x="244475" y="622300"/>
                    </a:lnTo>
                    <a:lnTo>
                      <a:pt x="285750" y="600075"/>
                    </a:lnTo>
                    <a:lnTo>
                      <a:pt x="361950" y="587375"/>
                    </a:lnTo>
                    <a:lnTo>
                      <a:pt x="381000" y="561975"/>
                    </a:lnTo>
                    <a:lnTo>
                      <a:pt x="419100" y="552450"/>
                    </a:lnTo>
                    <a:lnTo>
                      <a:pt x="412750" y="504825"/>
                    </a:lnTo>
                    <a:lnTo>
                      <a:pt x="434975" y="454025"/>
                    </a:lnTo>
                    <a:lnTo>
                      <a:pt x="476250" y="463550"/>
                    </a:lnTo>
                    <a:lnTo>
                      <a:pt x="774700" y="450850"/>
                    </a:lnTo>
                    <a:lnTo>
                      <a:pt x="781050" y="304800"/>
                    </a:lnTo>
                    <a:lnTo>
                      <a:pt x="828675" y="222250"/>
                    </a:lnTo>
                    <a:lnTo>
                      <a:pt x="774700" y="222250"/>
                    </a:lnTo>
                    <a:lnTo>
                      <a:pt x="774700" y="209550"/>
                    </a:lnTo>
                    <a:lnTo>
                      <a:pt x="787400" y="190500"/>
                    </a:lnTo>
                    <a:lnTo>
                      <a:pt x="768350" y="139700"/>
                    </a:lnTo>
                    <a:lnTo>
                      <a:pt x="749300" y="101600"/>
                    </a:lnTo>
                    <a:lnTo>
                      <a:pt x="717550" y="88900"/>
                    </a:lnTo>
                    <a:lnTo>
                      <a:pt x="698500" y="92075"/>
                    </a:lnTo>
                    <a:lnTo>
                      <a:pt x="603250" y="69850"/>
                    </a:lnTo>
                    <a:lnTo>
                      <a:pt x="542925" y="0"/>
                    </a:lnTo>
                    <a:lnTo>
                      <a:pt x="520700" y="47625"/>
                    </a:lnTo>
                    <a:lnTo>
                      <a:pt x="454025" y="63500"/>
                    </a:lnTo>
                    <a:lnTo>
                      <a:pt x="419100" y="12700"/>
                    </a:lnTo>
                    <a:lnTo>
                      <a:pt x="381000" y="44450"/>
                    </a:lnTo>
                    <a:lnTo>
                      <a:pt x="314325" y="76200"/>
                    </a:lnTo>
                    <a:lnTo>
                      <a:pt x="276225" y="117475"/>
                    </a:lnTo>
                    <a:lnTo>
                      <a:pt x="241300" y="203200"/>
                    </a:lnTo>
                    <a:lnTo>
                      <a:pt x="196850" y="228600"/>
                    </a:lnTo>
                    <a:lnTo>
                      <a:pt x="149225" y="203200"/>
                    </a:lnTo>
                    <a:lnTo>
                      <a:pt x="95250" y="247650"/>
                    </a:lnTo>
                    <a:lnTo>
                      <a:pt x="60325" y="279400"/>
                    </a:lnTo>
                    <a:lnTo>
                      <a:pt x="85725" y="323850"/>
                    </a:lnTo>
                    <a:lnTo>
                      <a:pt x="104775" y="349250"/>
                    </a:lnTo>
                    <a:lnTo>
                      <a:pt x="95250" y="381000"/>
                    </a:lnTo>
                    <a:lnTo>
                      <a:pt x="85725" y="428625"/>
                    </a:lnTo>
                    <a:lnTo>
                      <a:pt x="31750" y="444500"/>
                    </a:lnTo>
                    <a:lnTo>
                      <a:pt x="9525" y="476250"/>
                    </a:lnTo>
                    <a:lnTo>
                      <a:pt x="0" y="520700"/>
                    </a:lnTo>
                    <a:lnTo>
                      <a:pt x="15875" y="565150"/>
                    </a:lnTo>
                    <a:lnTo>
                      <a:pt x="28575" y="587375"/>
                    </a:lnTo>
                    <a:lnTo>
                      <a:pt x="63500" y="584200"/>
                    </a:lnTo>
                    <a:lnTo>
                      <a:pt x="76200" y="631825"/>
                    </a:lnTo>
                    <a:lnTo>
                      <a:pt x="92075" y="654050"/>
                    </a:lnTo>
                    <a:lnTo>
                      <a:pt x="114300" y="692150"/>
                    </a:lnTo>
                    <a:lnTo>
                      <a:pt x="107950" y="727075"/>
                    </a:lnTo>
                    <a:lnTo>
                      <a:pt x="133350" y="777875"/>
                    </a:lnTo>
                    <a:lnTo>
                      <a:pt x="130175" y="828675"/>
                    </a:lnTo>
                    <a:lnTo>
                      <a:pt x="127000" y="885825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 eaLnBrk="0" hangingPunct="0">
                  <a:defRPr/>
                </a:pPr>
                <a:endParaRPr lang="uk-UA" sz="1000" u="sng" dirty="0">
                  <a:solidFill>
                    <a:prstClr val="black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250" name="TextBox 249"/>
            <p:cNvSpPr txBox="1"/>
            <p:nvPr/>
          </p:nvSpPr>
          <p:spPr>
            <a:xfrm>
              <a:off x="2574936" y="2755896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Тернопільська</a:t>
              </a:r>
            </a:p>
          </p:txBody>
        </p:sp>
        <p:sp>
          <p:nvSpPr>
            <p:cNvPr id="251" name="TextBox 250"/>
            <p:cNvSpPr txBox="1"/>
            <p:nvPr/>
          </p:nvSpPr>
          <p:spPr>
            <a:xfrm>
              <a:off x="2602092" y="1842002"/>
              <a:ext cx="801280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Волинська</a:t>
              </a:r>
            </a:p>
          </p:txBody>
        </p:sp>
        <p:sp>
          <p:nvSpPr>
            <p:cNvPr id="252" name="TextBox 251"/>
            <p:cNvSpPr txBox="1"/>
            <p:nvPr/>
          </p:nvSpPr>
          <p:spPr>
            <a:xfrm>
              <a:off x="3317748" y="1947630"/>
              <a:ext cx="801280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Рівненська</a:t>
              </a:r>
            </a:p>
          </p:txBody>
        </p:sp>
        <p:sp>
          <p:nvSpPr>
            <p:cNvPr id="253" name="TextBox 252"/>
            <p:cNvSpPr txBox="1"/>
            <p:nvPr/>
          </p:nvSpPr>
          <p:spPr>
            <a:xfrm>
              <a:off x="3896946" y="2267019"/>
              <a:ext cx="914769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Житомирська</a:t>
              </a: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1487489" y="3342854"/>
              <a:ext cx="914769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Закарпатська</a:t>
              </a:r>
            </a:p>
          </p:txBody>
        </p:sp>
        <p:sp>
          <p:nvSpPr>
            <p:cNvPr id="255" name="TextBox 254"/>
            <p:cNvSpPr txBox="1"/>
            <p:nvPr/>
          </p:nvSpPr>
          <p:spPr>
            <a:xfrm>
              <a:off x="3010528" y="3501739"/>
              <a:ext cx="914769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Чернівецька</a:t>
              </a:r>
            </a:p>
          </p:txBody>
        </p:sp>
        <p:sp>
          <p:nvSpPr>
            <p:cNvPr id="256" name="TextBox 255"/>
            <p:cNvSpPr txBox="1"/>
            <p:nvPr/>
          </p:nvSpPr>
          <p:spPr>
            <a:xfrm>
              <a:off x="2376045" y="3212976"/>
              <a:ext cx="914769" cy="50783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Івано-Франківська</a:t>
              </a:r>
            </a:p>
          </p:txBody>
        </p:sp>
        <p:sp>
          <p:nvSpPr>
            <p:cNvPr id="257" name="TextBox 256"/>
            <p:cNvSpPr txBox="1"/>
            <p:nvPr/>
          </p:nvSpPr>
          <p:spPr>
            <a:xfrm>
              <a:off x="2201452" y="2629763"/>
              <a:ext cx="801280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Львівська</a:t>
              </a: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3378096" y="2853667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Хмельницька</a:t>
              </a: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4082212" y="3211828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Вінницька</a:t>
              </a:r>
            </a:p>
            <a:p>
              <a:pPr defTabSz="912770">
                <a:defRPr/>
              </a:pPr>
              <a:endPara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</a:endParaRPr>
            </a:p>
          </p:txBody>
        </p:sp>
        <p:sp>
          <p:nvSpPr>
            <p:cNvPr id="260" name="TextBox 259"/>
            <p:cNvSpPr txBox="1"/>
            <p:nvPr/>
          </p:nvSpPr>
          <p:spPr>
            <a:xfrm>
              <a:off x="4658276" y="2348880"/>
              <a:ext cx="1005676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Київська</a:t>
              </a: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5202244" y="3069691"/>
              <a:ext cx="1005676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Черкаська</a:t>
              </a:r>
            </a:p>
          </p:txBody>
        </p:sp>
        <p:sp>
          <p:nvSpPr>
            <p:cNvPr id="262" name="TextBox 261"/>
            <p:cNvSpPr txBox="1"/>
            <p:nvPr/>
          </p:nvSpPr>
          <p:spPr>
            <a:xfrm>
              <a:off x="4709033" y="4285841"/>
              <a:ext cx="1005676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Одеська</a:t>
              </a:r>
            </a:p>
          </p:txBody>
        </p:sp>
        <p:sp>
          <p:nvSpPr>
            <p:cNvPr id="263" name="TextBox 262"/>
            <p:cNvSpPr txBox="1"/>
            <p:nvPr/>
          </p:nvSpPr>
          <p:spPr>
            <a:xfrm>
              <a:off x="5227193" y="4030733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Миколаївська</a:t>
              </a:r>
            </a:p>
          </p:txBody>
        </p:sp>
        <p:sp>
          <p:nvSpPr>
            <p:cNvPr id="264" name="TextBox 263"/>
            <p:cNvSpPr txBox="1"/>
            <p:nvPr/>
          </p:nvSpPr>
          <p:spPr>
            <a:xfrm>
              <a:off x="6066341" y="4437843"/>
              <a:ext cx="1005676" cy="50783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Херсонська</a:t>
              </a:r>
            </a:p>
            <a:p>
              <a:pPr defTabSz="912770">
                <a:defRPr/>
              </a:pPr>
              <a:endPara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</a:endParaRPr>
            </a:p>
          </p:txBody>
        </p:sp>
        <p:sp>
          <p:nvSpPr>
            <p:cNvPr id="265" name="TextBox 264"/>
            <p:cNvSpPr txBox="1"/>
            <p:nvPr/>
          </p:nvSpPr>
          <p:spPr>
            <a:xfrm>
              <a:off x="6962533" y="4077803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Запорізька</a:t>
              </a:r>
            </a:p>
          </p:txBody>
        </p:sp>
        <p:sp>
          <p:nvSpPr>
            <p:cNvPr id="266" name="TextBox 265"/>
            <p:cNvSpPr txBox="1"/>
            <p:nvPr/>
          </p:nvSpPr>
          <p:spPr>
            <a:xfrm>
              <a:off x="5450365" y="3400337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Кіровоградська</a:t>
              </a:r>
            </a:p>
          </p:txBody>
        </p:sp>
        <p:sp>
          <p:nvSpPr>
            <p:cNvPr id="267" name="TextBox 266"/>
            <p:cNvSpPr txBox="1"/>
            <p:nvPr/>
          </p:nvSpPr>
          <p:spPr>
            <a:xfrm>
              <a:off x="6379214" y="3540862"/>
              <a:ext cx="1156947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Дніпропетровська</a:t>
              </a:r>
            </a:p>
          </p:txBody>
        </p:sp>
        <p:sp>
          <p:nvSpPr>
            <p:cNvPr id="268" name="TextBox 267"/>
            <p:cNvSpPr txBox="1"/>
            <p:nvPr/>
          </p:nvSpPr>
          <p:spPr>
            <a:xfrm>
              <a:off x="5991896" y="2694843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Полтавська</a:t>
              </a:r>
            </a:p>
          </p:txBody>
        </p:sp>
        <p:sp>
          <p:nvSpPr>
            <p:cNvPr id="269" name="TextBox 268"/>
            <p:cNvSpPr txBox="1"/>
            <p:nvPr/>
          </p:nvSpPr>
          <p:spPr>
            <a:xfrm>
              <a:off x="5349241" y="1772816"/>
              <a:ext cx="1106800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Чернігівська</a:t>
              </a:r>
            </a:p>
          </p:txBody>
        </p:sp>
        <p:sp>
          <p:nvSpPr>
            <p:cNvPr id="270" name="TextBox 269"/>
            <p:cNvSpPr txBox="1"/>
            <p:nvPr/>
          </p:nvSpPr>
          <p:spPr>
            <a:xfrm>
              <a:off x="6054258" y="2043322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Сумська</a:t>
              </a:r>
            </a:p>
          </p:txBody>
        </p:sp>
        <p:sp>
          <p:nvSpPr>
            <p:cNvPr id="271" name="TextBox 270"/>
            <p:cNvSpPr txBox="1"/>
            <p:nvPr/>
          </p:nvSpPr>
          <p:spPr>
            <a:xfrm>
              <a:off x="7091286" y="2708920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Харківська</a:t>
              </a:r>
            </a:p>
          </p:txBody>
        </p:sp>
        <p:sp>
          <p:nvSpPr>
            <p:cNvPr id="272" name="TextBox 271"/>
            <p:cNvSpPr txBox="1"/>
            <p:nvPr/>
          </p:nvSpPr>
          <p:spPr>
            <a:xfrm>
              <a:off x="8033611" y="2879324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Луганська</a:t>
              </a:r>
            </a:p>
          </p:txBody>
        </p:sp>
        <p:sp>
          <p:nvSpPr>
            <p:cNvPr id="273" name="TextBox 272"/>
            <p:cNvSpPr txBox="1"/>
            <p:nvPr/>
          </p:nvSpPr>
          <p:spPr>
            <a:xfrm>
              <a:off x="7597852" y="3583314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Донецька</a:t>
              </a:r>
            </a:p>
          </p:txBody>
        </p:sp>
        <p:sp>
          <p:nvSpPr>
            <p:cNvPr id="274" name="TextBox 273"/>
            <p:cNvSpPr txBox="1"/>
            <p:nvPr/>
          </p:nvSpPr>
          <p:spPr>
            <a:xfrm>
              <a:off x="5087888" y="2492896"/>
              <a:ext cx="1005676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м. Київ</a:t>
              </a:r>
            </a:p>
          </p:txBody>
        </p:sp>
        <p:sp>
          <p:nvSpPr>
            <p:cNvPr id="275" name="Прямоугольник 181"/>
            <p:cNvSpPr/>
            <p:nvPr/>
          </p:nvSpPr>
          <p:spPr>
            <a:xfrm>
              <a:off x="2762938" y="2042530"/>
              <a:ext cx="540000" cy="235992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91,5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76" name="Прямоугольник 182"/>
            <p:cNvSpPr/>
            <p:nvPr/>
          </p:nvSpPr>
          <p:spPr>
            <a:xfrm>
              <a:off x="2884705" y="2937556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93,6</a:t>
              </a:r>
              <a:endParaRPr lang="ru-RU" sz="12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77" name="Прямоугольник 183"/>
            <p:cNvSpPr/>
            <p:nvPr/>
          </p:nvSpPr>
          <p:spPr>
            <a:xfrm>
              <a:off x="4153502" y="3437726"/>
              <a:ext cx="540000" cy="272919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40,8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78" name="Прямоугольник 184"/>
            <p:cNvSpPr/>
            <p:nvPr/>
          </p:nvSpPr>
          <p:spPr>
            <a:xfrm>
              <a:off x="3092385" y="3721124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79,9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79" name="Прямоугольник 185"/>
            <p:cNvSpPr/>
            <p:nvPr/>
          </p:nvSpPr>
          <p:spPr>
            <a:xfrm>
              <a:off x="7345978" y="2997739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52,6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0" name="Прямоугольник 186"/>
            <p:cNvSpPr/>
            <p:nvPr/>
          </p:nvSpPr>
          <p:spPr>
            <a:xfrm>
              <a:off x="5418139" y="4241621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65</a:t>
              </a: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,0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1" name="Прямоугольник 188"/>
            <p:cNvSpPr/>
            <p:nvPr/>
          </p:nvSpPr>
          <p:spPr>
            <a:xfrm>
              <a:off x="4619896" y="2741826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97,1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2" name="Прямоугольник 190"/>
            <p:cNvSpPr/>
            <p:nvPr/>
          </p:nvSpPr>
          <p:spPr>
            <a:xfrm>
              <a:off x="5556000" y="2095446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91,9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3" name="Прямоугольник 191"/>
            <p:cNvSpPr/>
            <p:nvPr/>
          </p:nvSpPr>
          <p:spPr>
            <a:xfrm>
              <a:off x="6358585" y="2243863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97,9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4" name="Прямоугольник 192"/>
            <p:cNvSpPr/>
            <p:nvPr/>
          </p:nvSpPr>
          <p:spPr>
            <a:xfrm>
              <a:off x="3404938" y="2213928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02,0</a:t>
              </a:r>
              <a:endParaRPr lang="ru-RU" sz="10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5" name="Прямоугольник 193"/>
            <p:cNvSpPr/>
            <p:nvPr/>
          </p:nvSpPr>
          <p:spPr>
            <a:xfrm>
              <a:off x="1838009" y="3543897"/>
              <a:ext cx="540000" cy="237639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10,5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6" name="Прямоугольник 195"/>
            <p:cNvSpPr/>
            <p:nvPr/>
          </p:nvSpPr>
          <p:spPr>
            <a:xfrm>
              <a:off x="7637117" y="3814145"/>
              <a:ext cx="540000" cy="267786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239,5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7" name="Прямоугольник 196"/>
            <p:cNvSpPr/>
            <p:nvPr/>
          </p:nvSpPr>
          <p:spPr>
            <a:xfrm>
              <a:off x="6989544" y="4365104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98,5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8" name="Прямоугольник 197"/>
            <p:cNvSpPr/>
            <p:nvPr/>
          </p:nvSpPr>
          <p:spPr>
            <a:xfrm>
              <a:off x="5962525" y="4667082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93,4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9" name="Прямоугольник 198"/>
            <p:cNvSpPr/>
            <p:nvPr/>
          </p:nvSpPr>
          <p:spPr>
            <a:xfrm>
              <a:off x="4979936" y="3250651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69,8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0" name="Прямоугольник 199"/>
            <p:cNvSpPr/>
            <p:nvPr/>
          </p:nvSpPr>
          <p:spPr>
            <a:xfrm>
              <a:off x="8135937" y="3108134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93,7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1" name="Прямоугольник 202"/>
            <p:cNvSpPr/>
            <p:nvPr/>
          </p:nvSpPr>
          <p:spPr>
            <a:xfrm>
              <a:off x="3492151" y="3038116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13,8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2" name="Прямоугольник 185"/>
            <p:cNvSpPr/>
            <p:nvPr/>
          </p:nvSpPr>
          <p:spPr>
            <a:xfrm>
              <a:off x="6415414" y="3724763"/>
              <a:ext cx="540000" cy="279141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82,8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3" name="Прямоугольник 185"/>
            <p:cNvSpPr/>
            <p:nvPr/>
          </p:nvSpPr>
          <p:spPr>
            <a:xfrm>
              <a:off x="5563319" y="3587810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54,7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4" name="Прямоугольник 189"/>
            <p:cNvSpPr/>
            <p:nvPr/>
          </p:nvSpPr>
          <p:spPr>
            <a:xfrm>
              <a:off x="5244227" y="2636912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62,7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5" name="Прямоугольник 294"/>
            <p:cNvSpPr/>
            <p:nvPr/>
          </p:nvSpPr>
          <p:spPr>
            <a:xfrm>
              <a:off x="4102608" y="2460847"/>
              <a:ext cx="540000" cy="247413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09,6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102" name="Прямоугольник 184"/>
            <p:cNvSpPr/>
            <p:nvPr/>
          </p:nvSpPr>
          <p:spPr>
            <a:xfrm>
              <a:off x="2512458" y="3543431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21,3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103" name="Прямоугольник 184"/>
            <p:cNvSpPr/>
            <p:nvPr/>
          </p:nvSpPr>
          <p:spPr>
            <a:xfrm>
              <a:off x="2072836" y="2798024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222,5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104" name="Прямоугольник 189"/>
            <p:cNvSpPr/>
            <p:nvPr/>
          </p:nvSpPr>
          <p:spPr>
            <a:xfrm>
              <a:off x="6273899" y="2918479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80,8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105" name="Прямоугольник 184"/>
            <p:cNvSpPr/>
            <p:nvPr/>
          </p:nvSpPr>
          <p:spPr>
            <a:xfrm>
              <a:off x="4513356" y="4781537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134,1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cxnSp>
          <p:nvCxnSpPr>
            <p:cNvPr id="106" name="Straight Connector 6"/>
            <p:cNvCxnSpPr>
              <a:stCxn id="294" idx="1"/>
            </p:cNvCxnSpPr>
            <p:nvPr/>
          </p:nvCxnSpPr>
          <p:spPr>
            <a:xfrm flipH="1" flipV="1">
              <a:off x="5123847" y="2677384"/>
              <a:ext cx="120380" cy="85528"/>
            </a:xfrm>
            <a:prstGeom prst="line">
              <a:avLst/>
            </a:prstGeom>
            <a:ln w="28575">
              <a:solidFill>
                <a:srgbClr val="558E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Прямоугольник 184"/>
            <p:cNvSpPr/>
            <p:nvPr/>
          </p:nvSpPr>
          <p:spPr>
            <a:xfrm>
              <a:off x="2758356" y="2266320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84,8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09" name="Прямоугольник 184"/>
            <p:cNvSpPr/>
            <p:nvPr/>
          </p:nvSpPr>
          <p:spPr>
            <a:xfrm>
              <a:off x="4098938" y="2673675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04,3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0" name="Прямоугольник 184"/>
            <p:cNvSpPr/>
            <p:nvPr/>
          </p:nvSpPr>
          <p:spPr>
            <a:xfrm>
              <a:off x="4148167" y="3681056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39,4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1" name="Прямоугольник 184"/>
            <p:cNvSpPr/>
            <p:nvPr/>
          </p:nvSpPr>
          <p:spPr>
            <a:xfrm>
              <a:off x="6420096" y="3969088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7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3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,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8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2" name="Прямоугольник 184"/>
            <p:cNvSpPr/>
            <p:nvPr/>
          </p:nvSpPr>
          <p:spPr>
            <a:xfrm>
              <a:off x="7644232" y="4050812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180,9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3" name="Прямоугольник 184"/>
            <p:cNvSpPr/>
            <p:nvPr/>
          </p:nvSpPr>
          <p:spPr>
            <a:xfrm>
              <a:off x="1826553" y="3750944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0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9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,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1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4" name="Прямоугольник 184"/>
            <p:cNvSpPr/>
            <p:nvPr/>
          </p:nvSpPr>
          <p:spPr>
            <a:xfrm>
              <a:off x="6996160" y="4569847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52,5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5" name="Прямоугольник 184"/>
            <p:cNvSpPr/>
            <p:nvPr/>
          </p:nvSpPr>
          <p:spPr>
            <a:xfrm>
              <a:off x="2500388" y="3769172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1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5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,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1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6" name="Прямоугольник 184"/>
            <p:cNvSpPr/>
            <p:nvPr/>
          </p:nvSpPr>
          <p:spPr>
            <a:xfrm>
              <a:off x="4613689" y="2960976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96,5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7" name="Прямоугольник 184"/>
            <p:cNvSpPr/>
            <p:nvPr/>
          </p:nvSpPr>
          <p:spPr>
            <a:xfrm>
              <a:off x="5559545" y="3798031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53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,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1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8" name="Прямоугольник 184"/>
            <p:cNvSpPr/>
            <p:nvPr/>
          </p:nvSpPr>
          <p:spPr>
            <a:xfrm>
              <a:off x="8135770" y="3319876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08,8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9" name="Прямоугольник 184"/>
            <p:cNvSpPr/>
            <p:nvPr/>
          </p:nvSpPr>
          <p:spPr>
            <a:xfrm>
              <a:off x="2063552" y="3032984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213,5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0" name="Прямоугольник 184"/>
            <p:cNvSpPr/>
            <p:nvPr/>
          </p:nvSpPr>
          <p:spPr>
            <a:xfrm>
              <a:off x="5412519" y="4490607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58,3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1" name="Прямоугольник 184"/>
            <p:cNvSpPr/>
            <p:nvPr/>
          </p:nvSpPr>
          <p:spPr>
            <a:xfrm>
              <a:off x="4508579" y="4998215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32,7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2" name="Прямоугольник 184"/>
            <p:cNvSpPr/>
            <p:nvPr/>
          </p:nvSpPr>
          <p:spPr>
            <a:xfrm>
              <a:off x="6276080" y="3136219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7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7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,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0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3" name="Прямоугольник 184"/>
            <p:cNvSpPr/>
            <p:nvPr/>
          </p:nvSpPr>
          <p:spPr>
            <a:xfrm>
              <a:off x="3404938" y="2430305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98,7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4" name="Прямоугольник 184"/>
            <p:cNvSpPr/>
            <p:nvPr/>
          </p:nvSpPr>
          <p:spPr>
            <a:xfrm>
              <a:off x="6365691" y="2472084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91,</a:t>
              </a: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4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5" name="Прямоугольник 184"/>
            <p:cNvSpPr/>
            <p:nvPr/>
          </p:nvSpPr>
          <p:spPr>
            <a:xfrm>
              <a:off x="2878220" y="3162825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rgbClr val="0070C0"/>
                  </a:solidFill>
                  <a:latin typeface="Arial"/>
                </a:rPr>
                <a:t>91,3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6" name="Прямоугольник 184"/>
            <p:cNvSpPr/>
            <p:nvPr/>
          </p:nvSpPr>
          <p:spPr>
            <a:xfrm>
              <a:off x="7356200" y="3209460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50,6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7" name="Прямоугольник 184"/>
            <p:cNvSpPr/>
            <p:nvPr/>
          </p:nvSpPr>
          <p:spPr>
            <a:xfrm>
              <a:off x="5960641" y="4880286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87,2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8" name="Прямоугольник 184"/>
            <p:cNvSpPr/>
            <p:nvPr/>
          </p:nvSpPr>
          <p:spPr>
            <a:xfrm>
              <a:off x="3498555" y="3251320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07,1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9" name="Прямоугольник 184"/>
            <p:cNvSpPr/>
            <p:nvPr/>
          </p:nvSpPr>
          <p:spPr>
            <a:xfrm>
              <a:off x="4974829" y="3465032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67,2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30" name="Прямоугольник 184"/>
            <p:cNvSpPr/>
            <p:nvPr/>
          </p:nvSpPr>
          <p:spPr>
            <a:xfrm>
              <a:off x="3092385" y="3956870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77,4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31" name="Прямоугольник 184"/>
            <p:cNvSpPr/>
            <p:nvPr/>
          </p:nvSpPr>
          <p:spPr>
            <a:xfrm>
              <a:off x="5552778" y="2312904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81,4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32" name="Прямоугольник 184"/>
            <p:cNvSpPr/>
            <p:nvPr/>
          </p:nvSpPr>
          <p:spPr>
            <a:xfrm>
              <a:off x="5248557" y="2834446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42,4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</p:grpSp>
      <p:sp>
        <p:nvSpPr>
          <p:cNvPr id="136" name="Прямоугольник 193"/>
          <p:cNvSpPr/>
          <p:nvPr/>
        </p:nvSpPr>
        <p:spPr>
          <a:xfrm>
            <a:off x="7445809" y="1605396"/>
            <a:ext cx="1374663" cy="978292"/>
          </a:xfrm>
          <a:prstGeom prst="rect">
            <a:avLst/>
          </a:prstGeom>
          <a:solidFill>
            <a:srgbClr val="1D89C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uk-UA" sz="1600" b="1" dirty="0">
                <a:solidFill>
                  <a:prstClr val="white"/>
                </a:solidFill>
              </a:rPr>
              <a:t>Передбачено ДФРР</a:t>
            </a:r>
          </a:p>
          <a:p>
            <a:pPr algn="ctr">
              <a:defRPr/>
            </a:pPr>
            <a:r>
              <a:rPr lang="ru-RU" sz="2400" b="1" dirty="0" smtClean="0">
                <a:solidFill>
                  <a:prstClr val="white"/>
                </a:solidFill>
              </a:rPr>
              <a:t>3 000  </a:t>
            </a:r>
            <a:endParaRPr lang="ru-RU" sz="2400" b="1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ru-RU" sz="1200" b="1" dirty="0">
                <a:solidFill>
                  <a:prstClr val="white"/>
                </a:solidFill>
              </a:rPr>
              <a:t>млн.</a:t>
            </a:r>
            <a:r>
              <a:rPr lang="uk-UA" sz="1200" b="1" dirty="0">
                <a:solidFill>
                  <a:prstClr val="white"/>
                </a:solidFill>
              </a:rPr>
              <a:t> грн.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137" name="Прямоугольник 193"/>
          <p:cNvSpPr/>
          <p:nvPr/>
        </p:nvSpPr>
        <p:spPr>
          <a:xfrm>
            <a:off x="7516097" y="4954366"/>
            <a:ext cx="1493909" cy="1750233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uk-UA" sz="1600" b="1" dirty="0" smtClean="0">
                <a:solidFill>
                  <a:srgbClr val="1D89CB"/>
                </a:solidFill>
              </a:rPr>
              <a:t>Касові видатки</a:t>
            </a:r>
          </a:p>
          <a:p>
            <a:pPr algn="ctr">
              <a:defRPr/>
            </a:pPr>
            <a:r>
              <a:rPr lang="uk-UA" sz="2400" b="1" dirty="0" smtClean="0">
                <a:solidFill>
                  <a:srgbClr val="1D89CB"/>
                </a:solidFill>
              </a:rPr>
              <a:t>2 69</a:t>
            </a:r>
            <a:r>
              <a:rPr lang="en-US" sz="2400" b="1" dirty="0" smtClean="0">
                <a:solidFill>
                  <a:srgbClr val="1D89CB"/>
                </a:solidFill>
              </a:rPr>
              <a:t>4,5</a:t>
            </a:r>
            <a:r>
              <a:rPr lang="uk-UA" sz="2400" b="1" dirty="0" smtClean="0">
                <a:solidFill>
                  <a:srgbClr val="1D89CB"/>
                </a:solidFill>
              </a:rPr>
              <a:t> </a:t>
            </a:r>
          </a:p>
          <a:p>
            <a:pPr algn="ctr">
              <a:defRPr/>
            </a:pPr>
            <a:r>
              <a:rPr lang="uk-UA" sz="1200" b="1" dirty="0" smtClean="0">
                <a:solidFill>
                  <a:srgbClr val="1D89CB"/>
                </a:solidFill>
              </a:rPr>
              <a:t>млн. грн.</a:t>
            </a:r>
          </a:p>
          <a:p>
            <a:pPr algn="ctr">
              <a:defRPr/>
            </a:pPr>
            <a:endParaRPr lang="uk-UA" sz="500" b="1" dirty="0" smtClean="0">
              <a:solidFill>
                <a:srgbClr val="1D89CB"/>
              </a:solidFill>
            </a:endParaRPr>
          </a:p>
          <a:p>
            <a:pPr algn="ctr">
              <a:defRPr/>
            </a:pPr>
            <a:r>
              <a:rPr lang="uk-UA" sz="900" i="1" dirty="0" smtClean="0">
                <a:solidFill>
                  <a:srgbClr val="1D89CB"/>
                </a:solidFill>
              </a:rPr>
              <a:t>Використання </a:t>
            </a:r>
          </a:p>
          <a:p>
            <a:pPr algn="ctr">
              <a:defRPr/>
            </a:pPr>
            <a:r>
              <a:rPr lang="uk-UA" sz="900" i="1" dirty="0" smtClean="0">
                <a:solidFill>
                  <a:srgbClr val="1D89CB"/>
                </a:solidFill>
              </a:rPr>
              <a:t>коштів </a:t>
            </a:r>
          </a:p>
          <a:p>
            <a:pPr algn="ctr">
              <a:defRPr/>
            </a:pPr>
            <a:r>
              <a:rPr lang="uk-UA" sz="2400" b="1" dirty="0" smtClean="0">
                <a:solidFill>
                  <a:srgbClr val="1D89CB"/>
                </a:solidFill>
              </a:rPr>
              <a:t>90% </a:t>
            </a:r>
            <a:endParaRPr lang="uk-UA" sz="2400" b="1" dirty="0">
              <a:solidFill>
                <a:srgbClr val="1D89CB"/>
              </a:solidFill>
            </a:endParaRPr>
          </a:p>
        </p:txBody>
      </p:sp>
      <p:graphicFrame>
        <p:nvGraphicFramePr>
          <p:cNvPr id="138" name="Table 1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479107"/>
              </p:ext>
            </p:extLst>
          </p:nvPr>
        </p:nvGraphicFramePr>
        <p:xfrm>
          <a:off x="490692" y="4766067"/>
          <a:ext cx="2285140" cy="1395781"/>
        </p:xfrm>
        <a:graphic>
          <a:graphicData uri="http://schemas.openxmlformats.org/drawingml/2006/table">
            <a:tbl>
              <a:tblPr firstRow="1" bandRow="1"/>
              <a:tblGrid>
                <a:gridCol w="602705"/>
                <a:gridCol w="1682435"/>
              </a:tblGrid>
              <a:tr h="4619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uk-UA" sz="1000" b="1" noProof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000" noProof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ПЕРЕДБАЧЕНО</a:t>
                      </a:r>
                      <a:r>
                        <a:rPr lang="uk-UA" sz="1000" baseline="0" noProof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rPr>
                        <a:t> КОШТІВ</a:t>
                      </a:r>
                      <a:endParaRPr lang="uk-UA" sz="10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19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uk-UA" sz="1000" b="1" noProof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uk-UA" sz="1000" kern="1200" noProof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КАСОВІ</a:t>
                      </a:r>
                      <a:r>
                        <a:rPr lang="uk-UA" sz="1000" kern="1200" baseline="0" noProof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ВИДАТКИ</a:t>
                      </a:r>
                      <a:endParaRPr lang="uk-UA" sz="1000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19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uk-UA" sz="1000" b="1" noProof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ИМЧАСОВО</a:t>
                      </a:r>
                      <a:r>
                        <a:rPr lang="en-US" altLang="ru-RU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altLang="ru-RU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КУПОВАНА</a:t>
                      </a:r>
                      <a:r>
                        <a:rPr lang="en-US" altLang="ru-RU" sz="100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altLang="ru-RU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ЕРИТОРІЯ</a:t>
                      </a: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991088" y="6250163"/>
            <a:ext cx="1161826" cy="365125"/>
          </a:xfrm>
        </p:spPr>
        <p:txBody>
          <a:bodyPr/>
          <a:lstStyle/>
          <a:p>
            <a:fld id="{9B4EB238-E5C8-4806-8CFE-7B153C4DC58A}" type="slidenum">
              <a:rPr lang="uk-UA" smtClean="0">
                <a:solidFill>
                  <a:schemeClr val="tx1"/>
                </a:solidFill>
              </a:rPr>
              <a:pPr/>
              <a:t>13</a:t>
            </a:fld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140" name="Rectangle 3"/>
          <p:cNvSpPr txBox="1">
            <a:spLocks noChangeArrowheads="1"/>
          </p:cNvSpPr>
          <p:nvPr/>
        </p:nvSpPr>
        <p:spPr>
          <a:xfrm>
            <a:off x="878257" y="243710"/>
            <a:ext cx="7882731" cy="844036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ІНФОРМАЦІЯ </a:t>
            </a:r>
            <a:r>
              <a:rPr lang="ru-RU" altLang="ru-RU" sz="2400" dirty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ЩОДО </a:t>
            </a:r>
            <a:r>
              <a:rPr lang="en-US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C</a:t>
            </a: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ТАНУ </a:t>
            </a:r>
            <a:r>
              <a:rPr lang="ru-RU" altLang="ru-RU" sz="2400" dirty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ВИКОРИСТАННЯ КОШТІВ </a:t>
            </a:r>
            <a:r>
              <a:rPr lang="en-US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   </a:t>
            </a: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ДФРР </a:t>
            </a:r>
            <a:r>
              <a:rPr lang="ru-RU" altLang="ru-RU" sz="2400" dirty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РЕГІОНАМИ У 2016 РОЦІ</a:t>
            </a:r>
          </a:p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(станом на 01.01.2017)</a:t>
            </a:r>
          </a:p>
        </p:txBody>
      </p:sp>
      <p:pic>
        <p:nvPicPr>
          <p:cNvPr id="141" name="Изображение 1" descr="minregion_logo_concep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433734"/>
            <a:ext cx="623914" cy="831885"/>
          </a:xfrm>
          <a:prstGeom prst="rect">
            <a:avLst/>
          </a:prstGeom>
        </p:spPr>
      </p:pic>
      <p:sp>
        <p:nvSpPr>
          <p:cNvPr id="142" name="Прямоугольник 2"/>
          <p:cNvSpPr/>
          <p:nvPr/>
        </p:nvSpPr>
        <p:spPr>
          <a:xfrm flipV="1">
            <a:off x="390611" y="1295048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50108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228600" y="1143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>
              <a:solidFill>
                <a:prstClr val="black"/>
              </a:solidFill>
            </a:endParaRPr>
          </a:p>
        </p:txBody>
      </p:sp>
      <p:grpSp>
        <p:nvGrpSpPr>
          <p:cNvPr id="2" name="Групувати 1"/>
          <p:cNvGrpSpPr/>
          <p:nvPr/>
        </p:nvGrpSpPr>
        <p:grpSpPr>
          <a:xfrm>
            <a:off x="210772" y="1316912"/>
            <a:ext cx="8424936" cy="5256584"/>
            <a:chOff x="1487489" y="1143000"/>
            <a:chExt cx="7652922" cy="5022304"/>
          </a:xfrm>
        </p:grpSpPr>
        <p:grpSp>
          <p:nvGrpSpPr>
            <p:cNvPr id="195" name="Group 165"/>
            <p:cNvGrpSpPr>
              <a:grpSpLocks/>
            </p:cNvGrpSpPr>
            <p:nvPr/>
          </p:nvGrpSpPr>
          <p:grpSpPr bwMode="auto">
            <a:xfrm>
              <a:off x="1626718" y="1143000"/>
              <a:ext cx="7449392" cy="5022304"/>
              <a:chOff x="1714663" y="980728"/>
              <a:chExt cx="7304904" cy="4752589"/>
            </a:xfrm>
          </p:grpSpPr>
          <p:grpSp>
            <p:nvGrpSpPr>
              <p:cNvPr id="200" name="Group 99"/>
              <p:cNvGrpSpPr>
                <a:grpSpLocks/>
              </p:cNvGrpSpPr>
              <p:nvPr/>
            </p:nvGrpSpPr>
            <p:grpSpPr bwMode="auto">
              <a:xfrm>
                <a:off x="1714663" y="980728"/>
                <a:ext cx="7304904" cy="4752589"/>
                <a:chOff x="179512" y="1788775"/>
                <a:chExt cx="6262359" cy="4016489"/>
              </a:xfrm>
            </p:grpSpPr>
            <p:sp>
              <p:nvSpPr>
                <p:cNvPr id="203" name="AutoShape 63"/>
                <p:cNvSpPr>
                  <a:spLocks noChangeAspect="1" noChangeArrowheads="1"/>
                </p:cNvSpPr>
                <p:nvPr/>
              </p:nvSpPr>
              <p:spPr bwMode="auto">
                <a:xfrm>
                  <a:off x="179512" y="1788775"/>
                  <a:ext cx="6103111" cy="3655623"/>
                </a:xfrm>
                <a:prstGeom prst="rect">
                  <a:avLst/>
                </a:prstGeom>
                <a:noFill/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4" name="Freeform 62"/>
                <p:cNvSpPr>
                  <a:spLocks/>
                </p:cNvSpPr>
                <p:nvPr/>
              </p:nvSpPr>
              <p:spPr bwMode="auto">
                <a:xfrm>
                  <a:off x="4566294" y="4994990"/>
                  <a:ext cx="85748" cy="73784"/>
                </a:xfrm>
                <a:custGeom>
                  <a:avLst/>
                  <a:gdLst/>
                  <a:ahLst/>
                  <a:cxnLst>
                    <a:cxn ang="0">
                      <a:pos x="7" y="28"/>
                    </a:cxn>
                    <a:cxn ang="0">
                      <a:pos x="7" y="15"/>
                    </a:cxn>
                    <a:cxn ang="0">
                      <a:pos x="20" y="4"/>
                    </a:cxn>
                    <a:cxn ang="0">
                      <a:pos x="25" y="18"/>
                    </a:cxn>
                    <a:cxn ang="0">
                      <a:pos x="26" y="29"/>
                    </a:cxn>
                    <a:cxn ang="0">
                      <a:pos x="7" y="28"/>
                    </a:cxn>
                    <a:cxn ang="0">
                      <a:pos x="7" y="28"/>
                    </a:cxn>
                  </a:cxnLst>
                  <a:rect l="0" t="0" r="r" b="b"/>
                  <a:pathLst>
                    <a:path w="30" h="29">
                      <a:moveTo>
                        <a:pt x="7" y="28"/>
                      </a:moveTo>
                      <a:cubicBezTo>
                        <a:pt x="0" y="20"/>
                        <a:pt x="7" y="15"/>
                        <a:pt x="7" y="15"/>
                      </a:cubicBezTo>
                      <a:cubicBezTo>
                        <a:pt x="7" y="0"/>
                        <a:pt x="20" y="4"/>
                        <a:pt x="20" y="4"/>
                      </a:cubicBezTo>
                      <a:cubicBezTo>
                        <a:pt x="30" y="4"/>
                        <a:pt x="25" y="18"/>
                        <a:pt x="25" y="18"/>
                      </a:cubicBezTo>
                      <a:cubicBezTo>
                        <a:pt x="26" y="22"/>
                        <a:pt x="26" y="26"/>
                        <a:pt x="26" y="29"/>
                      </a:cubicBezTo>
                      <a:cubicBezTo>
                        <a:pt x="26" y="29"/>
                        <a:pt x="13" y="18"/>
                        <a:pt x="7" y="28"/>
                      </a:cubicBezTo>
                      <a:cubicBezTo>
                        <a:pt x="7" y="28"/>
                        <a:pt x="7" y="28"/>
                        <a:pt x="7" y="28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5" name="Freeform 61"/>
                <p:cNvSpPr>
                  <a:spLocks/>
                </p:cNvSpPr>
                <p:nvPr/>
              </p:nvSpPr>
              <p:spPr bwMode="auto">
                <a:xfrm>
                  <a:off x="3541395" y="4821936"/>
                  <a:ext cx="107526" cy="46953"/>
                </a:xfrm>
                <a:custGeom>
                  <a:avLst/>
                  <a:gdLst/>
                  <a:ahLst/>
                  <a:cxnLst>
                    <a:cxn ang="0">
                      <a:pos x="37" y="3"/>
                    </a:cxn>
                    <a:cxn ang="0">
                      <a:pos x="33" y="15"/>
                    </a:cxn>
                    <a:cxn ang="0">
                      <a:pos x="17" y="18"/>
                    </a:cxn>
                    <a:cxn ang="0">
                      <a:pos x="0" y="0"/>
                    </a:cxn>
                    <a:cxn ang="0">
                      <a:pos x="22" y="0"/>
                    </a:cxn>
                    <a:cxn ang="0">
                      <a:pos x="37" y="3"/>
                    </a:cxn>
                    <a:cxn ang="0">
                      <a:pos x="37" y="3"/>
                    </a:cxn>
                  </a:cxnLst>
                  <a:rect l="0" t="0" r="r" b="b"/>
                  <a:pathLst>
                    <a:path w="38" h="18">
                      <a:moveTo>
                        <a:pt x="37" y="3"/>
                      </a:moveTo>
                      <a:cubicBezTo>
                        <a:pt x="38" y="8"/>
                        <a:pt x="29" y="11"/>
                        <a:pt x="33" y="15"/>
                      </a:cubicBezTo>
                      <a:cubicBezTo>
                        <a:pt x="24" y="15"/>
                        <a:pt x="17" y="18"/>
                        <a:pt x="17" y="18"/>
                      </a:cubicBezTo>
                      <a:cubicBezTo>
                        <a:pt x="7" y="14"/>
                        <a:pt x="0" y="0"/>
                        <a:pt x="0" y="0"/>
                      </a:cubicBezTo>
                      <a:cubicBezTo>
                        <a:pt x="16" y="5"/>
                        <a:pt x="22" y="0"/>
                        <a:pt x="22" y="0"/>
                      </a:cubicBezTo>
                      <a:cubicBezTo>
                        <a:pt x="29" y="2"/>
                        <a:pt x="33" y="3"/>
                        <a:pt x="37" y="3"/>
                      </a:cubicBezTo>
                      <a:cubicBezTo>
                        <a:pt x="37" y="3"/>
                        <a:pt x="37" y="3"/>
                        <a:pt x="37" y="3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6" name="Freeform 60"/>
                <p:cNvSpPr>
                  <a:spLocks/>
                </p:cNvSpPr>
                <p:nvPr/>
              </p:nvSpPr>
              <p:spPr bwMode="auto">
                <a:xfrm>
                  <a:off x="4775901" y="4962794"/>
                  <a:ext cx="70776" cy="52319"/>
                </a:xfrm>
                <a:custGeom>
                  <a:avLst/>
                  <a:gdLst/>
                  <a:ahLst/>
                  <a:cxnLst>
                    <a:cxn ang="0">
                      <a:pos x="25" y="0"/>
                    </a:cxn>
                    <a:cxn ang="0">
                      <a:pos x="0" y="21"/>
                    </a:cxn>
                    <a:cxn ang="0">
                      <a:pos x="25" y="0"/>
                    </a:cxn>
                    <a:cxn ang="0">
                      <a:pos x="25" y="0"/>
                    </a:cxn>
                  </a:cxnLst>
                  <a:rect l="0" t="0" r="r" b="b"/>
                  <a:pathLst>
                    <a:path w="25" h="21">
                      <a:moveTo>
                        <a:pt x="25" y="0"/>
                      </a:moveTo>
                      <a:cubicBezTo>
                        <a:pt x="25" y="10"/>
                        <a:pt x="0" y="21"/>
                        <a:pt x="0" y="21"/>
                      </a:cubicBezTo>
                      <a:cubicBezTo>
                        <a:pt x="1" y="6"/>
                        <a:pt x="16" y="8"/>
                        <a:pt x="25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7" name="Freeform 59"/>
                <p:cNvSpPr>
                  <a:spLocks/>
                </p:cNvSpPr>
                <p:nvPr/>
              </p:nvSpPr>
              <p:spPr bwMode="auto">
                <a:xfrm>
                  <a:off x="3937472" y="5037919"/>
                  <a:ext cx="151080" cy="42928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35" y="13"/>
                    </a:cxn>
                    <a:cxn ang="0">
                      <a:pos x="50" y="8"/>
                    </a:cxn>
                    <a:cxn ang="0">
                      <a:pos x="35" y="3"/>
                    </a:cxn>
                    <a:cxn ang="0">
                      <a:pos x="0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53" h="17">
                      <a:moveTo>
                        <a:pt x="0" y="2"/>
                      </a:moveTo>
                      <a:cubicBezTo>
                        <a:pt x="24" y="8"/>
                        <a:pt x="35" y="13"/>
                        <a:pt x="35" y="13"/>
                      </a:cubicBezTo>
                      <a:cubicBezTo>
                        <a:pt x="53" y="17"/>
                        <a:pt x="50" y="8"/>
                        <a:pt x="50" y="8"/>
                      </a:cubicBezTo>
                      <a:cubicBezTo>
                        <a:pt x="49" y="2"/>
                        <a:pt x="35" y="3"/>
                        <a:pt x="35" y="3"/>
                      </a:cubicBezTo>
                      <a:cubicBezTo>
                        <a:pt x="28" y="0"/>
                        <a:pt x="26" y="6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chemeClr val="bg1">
                    <a:lumMod val="7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8" name="Freeform 105"/>
                <p:cNvSpPr>
                  <a:spLocks/>
                </p:cNvSpPr>
                <p:nvPr/>
              </p:nvSpPr>
              <p:spPr bwMode="auto">
                <a:xfrm>
                  <a:off x="823306" y="3385175"/>
                  <a:ext cx="703681" cy="827714"/>
                </a:xfrm>
                <a:custGeom>
                  <a:avLst/>
                  <a:gdLst/>
                  <a:ahLst/>
                  <a:cxnLst>
                    <a:cxn ang="0">
                      <a:pos x="0" y="135"/>
                    </a:cxn>
                    <a:cxn ang="0">
                      <a:pos x="3" y="108"/>
                    </a:cxn>
                    <a:cxn ang="0">
                      <a:pos x="11" y="90"/>
                    </a:cxn>
                    <a:cxn ang="0">
                      <a:pos x="22" y="80"/>
                    </a:cxn>
                    <a:cxn ang="0">
                      <a:pos x="39" y="71"/>
                    </a:cxn>
                    <a:cxn ang="0">
                      <a:pos x="63" y="69"/>
                    </a:cxn>
                    <a:cxn ang="0">
                      <a:pos x="93" y="66"/>
                    </a:cxn>
                    <a:cxn ang="0">
                      <a:pos x="116" y="59"/>
                    </a:cxn>
                    <a:cxn ang="0">
                      <a:pos x="103" y="56"/>
                    </a:cxn>
                    <a:cxn ang="0">
                      <a:pos x="102" y="40"/>
                    </a:cxn>
                    <a:cxn ang="0">
                      <a:pos x="113" y="21"/>
                    </a:cxn>
                    <a:cxn ang="0">
                      <a:pos x="123" y="7"/>
                    </a:cxn>
                    <a:cxn ang="0">
                      <a:pos x="140" y="6"/>
                    </a:cxn>
                    <a:cxn ang="0">
                      <a:pos x="151" y="11"/>
                    </a:cxn>
                    <a:cxn ang="0">
                      <a:pos x="162" y="53"/>
                    </a:cxn>
                    <a:cxn ang="0">
                      <a:pos x="163" y="66"/>
                    </a:cxn>
                    <a:cxn ang="0">
                      <a:pos x="160" y="81"/>
                    </a:cxn>
                    <a:cxn ang="0">
                      <a:pos x="176" y="87"/>
                    </a:cxn>
                    <a:cxn ang="0">
                      <a:pos x="165" y="95"/>
                    </a:cxn>
                    <a:cxn ang="0">
                      <a:pos x="179" y="111"/>
                    </a:cxn>
                    <a:cxn ang="0">
                      <a:pos x="188" y="117"/>
                    </a:cxn>
                    <a:cxn ang="0">
                      <a:pos x="196" y="126"/>
                    </a:cxn>
                    <a:cxn ang="0">
                      <a:pos x="204" y="135"/>
                    </a:cxn>
                    <a:cxn ang="0">
                      <a:pos x="219" y="135"/>
                    </a:cxn>
                    <a:cxn ang="0">
                      <a:pos x="233" y="143"/>
                    </a:cxn>
                    <a:cxn ang="0">
                      <a:pos x="246" y="168"/>
                    </a:cxn>
                    <a:cxn ang="0">
                      <a:pos x="241" y="189"/>
                    </a:cxn>
                    <a:cxn ang="0">
                      <a:pos x="241" y="205"/>
                    </a:cxn>
                    <a:cxn ang="0">
                      <a:pos x="225" y="217"/>
                    </a:cxn>
                    <a:cxn ang="0">
                      <a:pos x="189" y="240"/>
                    </a:cxn>
                    <a:cxn ang="0">
                      <a:pos x="182" y="245"/>
                    </a:cxn>
                    <a:cxn ang="0">
                      <a:pos x="161" y="264"/>
                    </a:cxn>
                    <a:cxn ang="0">
                      <a:pos x="153" y="302"/>
                    </a:cxn>
                    <a:cxn ang="0">
                      <a:pos x="148" y="331"/>
                    </a:cxn>
                    <a:cxn ang="0">
                      <a:pos x="124" y="306"/>
                    </a:cxn>
                    <a:cxn ang="0">
                      <a:pos x="113" y="285"/>
                    </a:cxn>
                    <a:cxn ang="0">
                      <a:pos x="111" y="256"/>
                    </a:cxn>
                    <a:cxn ang="0">
                      <a:pos x="106" y="238"/>
                    </a:cxn>
                    <a:cxn ang="0">
                      <a:pos x="91" y="217"/>
                    </a:cxn>
                    <a:cxn ang="0">
                      <a:pos x="78" y="213"/>
                    </a:cxn>
                    <a:cxn ang="0">
                      <a:pos x="62" y="201"/>
                    </a:cxn>
                    <a:cxn ang="0">
                      <a:pos x="60" y="180"/>
                    </a:cxn>
                    <a:cxn ang="0">
                      <a:pos x="45" y="186"/>
                    </a:cxn>
                    <a:cxn ang="0">
                      <a:pos x="40" y="177"/>
                    </a:cxn>
                    <a:cxn ang="0">
                      <a:pos x="32" y="169"/>
                    </a:cxn>
                    <a:cxn ang="0">
                      <a:pos x="12" y="153"/>
                    </a:cxn>
                    <a:cxn ang="0">
                      <a:pos x="0" y="135"/>
                    </a:cxn>
                    <a:cxn ang="0">
                      <a:pos x="0" y="135"/>
                    </a:cxn>
                  </a:cxnLst>
                  <a:rect l="0" t="0" r="r" b="b"/>
                  <a:pathLst>
                    <a:path w="249" h="331">
                      <a:moveTo>
                        <a:pt x="0" y="135"/>
                      </a:moveTo>
                      <a:cubicBezTo>
                        <a:pt x="7" y="119"/>
                        <a:pt x="3" y="108"/>
                        <a:pt x="3" y="108"/>
                      </a:cubicBezTo>
                      <a:cubicBezTo>
                        <a:pt x="2" y="93"/>
                        <a:pt x="11" y="90"/>
                        <a:pt x="11" y="90"/>
                      </a:cubicBezTo>
                      <a:cubicBezTo>
                        <a:pt x="20" y="87"/>
                        <a:pt x="22" y="80"/>
                        <a:pt x="22" y="80"/>
                      </a:cubicBezTo>
                      <a:cubicBezTo>
                        <a:pt x="19" y="64"/>
                        <a:pt x="39" y="71"/>
                        <a:pt x="39" y="71"/>
                      </a:cubicBezTo>
                      <a:cubicBezTo>
                        <a:pt x="59" y="75"/>
                        <a:pt x="63" y="69"/>
                        <a:pt x="63" y="69"/>
                      </a:cubicBezTo>
                      <a:cubicBezTo>
                        <a:pt x="72" y="65"/>
                        <a:pt x="93" y="66"/>
                        <a:pt x="93" y="66"/>
                      </a:cubicBezTo>
                      <a:cubicBezTo>
                        <a:pt x="116" y="67"/>
                        <a:pt x="116" y="59"/>
                        <a:pt x="116" y="59"/>
                      </a:cubicBezTo>
                      <a:cubicBezTo>
                        <a:pt x="115" y="55"/>
                        <a:pt x="103" y="56"/>
                        <a:pt x="103" y="56"/>
                      </a:cubicBezTo>
                      <a:cubicBezTo>
                        <a:pt x="100" y="50"/>
                        <a:pt x="102" y="40"/>
                        <a:pt x="102" y="40"/>
                      </a:cubicBezTo>
                      <a:cubicBezTo>
                        <a:pt x="116" y="39"/>
                        <a:pt x="113" y="21"/>
                        <a:pt x="113" y="21"/>
                      </a:cubicBezTo>
                      <a:cubicBezTo>
                        <a:pt x="110" y="4"/>
                        <a:pt x="123" y="7"/>
                        <a:pt x="123" y="7"/>
                      </a:cubicBezTo>
                      <a:cubicBezTo>
                        <a:pt x="129" y="0"/>
                        <a:pt x="140" y="6"/>
                        <a:pt x="140" y="6"/>
                      </a:cubicBezTo>
                      <a:cubicBezTo>
                        <a:pt x="142" y="14"/>
                        <a:pt x="151" y="11"/>
                        <a:pt x="151" y="11"/>
                      </a:cubicBezTo>
                      <a:cubicBezTo>
                        <a:pt x="151" y="11"/>
                        <a:pt x="162" y="31"/>
                        <a:pt x="162" y="53"/>
                      </a:cubicBezTo>
                      <a:cubicBezTo>
                        <a:pt x="162" y="53"/>
                        <a:pt x="168" y="63"/>
                        <a:pt x="163" y="66"/>
                      </a:cubicBezTo>
                      <a:cubicBezTo>
                        <a:pt x="163" y="66"/>
                        <a:pt x="158" y="73"/>
                        <a:pt x="160" y="81"/>
                      </a:cubicBezTo>
                      <a:cubicBezTo>
                        <a:pt x="160" y="81"/>
                        <a:pt x="175" y="80"/>
                        <a:pt x="176" y="87"/>
                      </a:cubicBezTo>
                      <a:cubicBezTo>
                        <a:pt x="176" y="87"/>
                        <a:pt x="179" y="94"/>
                        <a:pt x="165" y="95"/>
                      </a:cubicBezTo>
                      <a:cubicBezTo>
                        <a:pt x="182" y="98"/>
                        <a:pt x="173" y="109"/>
                        <a:pt x="179" y="111"/>
                      </a:cubicBezTo>
                      <a:cubicBezTo>
                        <a:pt x="179" y="111"/>
                        <a:pt x="190" y="102"/>
                        <a:pt x="188" y="117"/>
                      </a:cubicBezTo>
                      <a:cubicBezTo>
                        <a:pt x="188" y="117"/>
                        <a:pt x="186" y="139"/>
                        <a:pt x="196" y="126"/>
                      </a:cubicBezTo>
                      <a:cubicBezTo>
                        <a:pt x="196" y="126"/>
                        <a:pt x="203" y="111"/>
                        <a:pt x="204" y="135"/>
                      </a:cubicBezTo>
                      <a:cubicBezTo>
                        <a:pt x="204" y="135"/>
                        <a:pt x="196" y="154"/>
                        <a:pt x="219" y="135"/>
                      </a:cubicBezTo>
                      <a:cubicBezTo>
                        <a:pt x="219" y="135"/>
                        <a:pt x="230" y="129"/>
                        <a:pt x="233" y="143"/>
                      </a:cubicBezTo>
                      <a:cubicBezTo>
                        <a:pt x="233" y="143"/>
                        <a:pt x="249" y="147"/>
                        <a:pt x="246" y="168"/>
                      </a:cubicBezTo>
                      <a:cubicBezTo>
                        <a:pt x="246" y="168"/>
                        <a:pt x="234" y="172"/>
                        <a:pt x="241" y="189"/>
                      </a:cubicBezTo>
                      <a:cubicBezTo>
                        <a:pt x="241" y="189"/>
                        <a:pt x="245" y="194"/>
                        <a:pt x="241" y="205"/>
                      </a:cubicBezTo>
                      <a:cubicBezTo>
                        <a:pt x="241" y="205"/>
                        <a:pt x="243" y="220"/>
                        <a:pt x="225" y="217"/>
                      </a:cubicBezTo>
                      <a:cubicBezTo>
                        <a:pt x="225" y="217"/>
                        <a:pt x="208" y="213"/>
                        <a:pt x="189" y="240"/>
                      </a:cubicBezTo>
                      <a:cubicBezTo>
                        <a:pt x="189" y="240"/>
                        <a:pt x="186" y="247"/>
                        <a:pt x="182" y="245"/>
                      </a:cubicBezTo>
                      <a:cubicBezTo>
                        <a:pt x="182" y="245"/>
                        <a:pt x="177" y="260"/>
                        <a:pt x="161" y="264"/>
                      </a:cubicBezTo>
                      <a:cubicBezTo>
                        <a:pt x="161" y="264"/>
                        <a:pt x="148" y="282"/>
                        <a:pt x="153" y="302"/>
                      </a:cubicBezTo>
                      <a:cubicBezTo>
                        <a:pt x="153" y="302"/>
                        <a:pt x="162" y="311"/>
                        <a:pt x="148" y="331"/>
                      </a:cubicBezTo>
                      <a:cubicBezTo>
                        <a:pt x="148" y="331"/>
                        <a:pt x="138" y="304"/>
                        <a:pt x="124" y="306"/>
                      </a:cubicBezTo>
                      <a:cubicBezTo>
                        <a:pt x="124" y="306"/>
                        <a:pt x="125" y="291"/>
                        <a:pt x="113" y="285"/>
                      </a:cubicBezTo>
                      <a:cubicBezTo>
                        <a:pt x="125" y="264"/>
                        <a:pt x="111" y="256"/>
                        <a:pt x="111" y="256"/>
                      </a:cubicBezTo>
                      <a:cubicBezTo>
                        <a:pt x="102" y="252"/>
                        <a:pt x="113" y="242"/>
                        <a:pt x="106" y="238"/>
                      </a:cubicBezTo>
                      <a:cubicBezTo>
                        <a:pt x="100" y="219"/>
                        <a:pt x="91" y="217"/>
                        <a:pt x="91" y="217"/>
                      </a:cubicBezTo>
                      <a:cubicBezTo>
                        <a:pt x="84" y="201"/>
                        <a:pt x="78" y="213"/>
                        <a:pt x="78" y="213"/>
                      </a:cubicBezTo>
                      <a:cubicBezTo>
                        <a:pt x="53" y="216"/>
                        <a:pt x="62" y="201"/>
                        <a:pt x="62" y="201"/>
                      </a:cubicBezTo>
                      <a:cubicBezTo>
                        <a:pt x="67" y="172"/>
                        <a:pt x="60" y="180"/>
                        <a:pt x="60" y="180"/>
                      </a:cubicBezTo>
                      <a:cubicBezTo>
                        <a:pt x="49" y="179"/>
                        <a:pt x="45" y="186"/>
                        <a:pt x="45" y="186"/>
                      </a:cubicBezTo>
                      <a:cubicBezTo>
                        <a:pt x="32" y="188"/>
                        <a:pt x="40" y="177"/>
                        <a:pt x="40" y="177"/>
                      </a:cubicBezTo>
                      <a:cubicBezTo>
                        <a:pt x="39" y="170"/>
                        <a:pt x="32" y="169"/>
                        <a:pt x="32" y="169"/>
                      </a:cubicBezTo>
                      <a:cubicBezTo>
                        <a:pt x="23" y="167"/>
                        <a:pt x="29" y="152"/>
                        <a:pt x="12" y="153"/>
                      </a:cubicBezTo>
                      <a:cubicBezTo>
                        <a:pt x="13" y="144"/>
                        <a:pt x="0" y="135"/>
                        <a:pt x="0" y="135"/>
                      </a:cubicBezTo>
                      <a:cubicBezTo>
                        <a:pt x="0" y="135"/>
                        <a:pt x="0" y="135"/>
                        <a:pt x="0" y="135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09" name="Freeform 57"/>
                <p:cNvSpPr>
                  <a:spLocks/>
                </p:cNvSpPr>
                <p:nvPr/>
              </p:nvSpPr>
              <p:spPr bwMode="auto">
                <a:xfrm>
                  <a:off x="542923" y="2890157"/>
                  <a:ext cx="970454" cy="834421"/>
                </a:xfrm>
                <a:custGeom>
                  <a:avLst/>
                  <a:gdLst/>
                  <a:ahLst/>
                  <a:cxnLst>
                    <a:cxn ang="0">
                      <a:pos x="28" y="267"/>
                    </a:cxn>
                    <a:cxn ang="0">
                      <a:pos x="20" y="247"/>
                    </a:cxn>
                    <a:cxn ang="0">
                      <a:pos x="16" y="227"/>
                    </a:cxn>
                    <a:cxn ang="0">
                      <a:pos x="18" y="197"/>
                    </a:cxn>
                    <a:cxn ang="0">
                      <a:pos x="15" y="179"/>
                    </a:cxn>
                    <a:cxn ang="0">
                      <a:pos x="48" y="134"/>
                    </a:cxn>
                    <a:cxn ang="0">
                      <a:pos x="148" y="45"/>
                    </a:cxn>
                    <a:cxn ang="0">
                      <a:pos x="172" y="32"/>
                    </a:cxn>
                    <a:cxn ang="0">
                      <a:pos x="189" y="24"/>
                    </a:cxn>
                    <a:cxn ang="0">
                      <a:pos x="201" y="13"/>
                    </a:cxn>
                    <a:cxn ang="0">
                      <a:pos x="201" y="0"/>
                    </a:cxn>
                    <a:cxn ang="0">
                      <a:pos x="219" y="10"/>
                    </a:cxn>
                    <a:cxn ang="0">
                      <a:pos x="234" y="14"/>
                    </a:cxn>
                    <a:cxn ang="0">
                      <a:pos x="244" y="22"/>
                    </a:cxn>
                    <a:cxn ang="0">
                      <a:pos x="237" y="35"/>
                    </a:cxn>
                    <a:cxn ang="0">
                      <a:pos x="245" y="40"/>
                    </a:cxn>
                    <a:cxn ang="0">
                      <a:pos x="259" y="48"/>
                    </a:cxn>
                    <a:cxn ang="0">
                      <a:pos x="274" y="58"/>
                    </a:cxn>
                    <a:cxn ang="0">
                      <a:pos x="295" y="58"/>
                    </a:cxn>
                    <a:cxn ang="0">
                      <a:pos x="304" y="69"/>
                    </a:cxn>
                    <a:cxn ang="0">
                      <a:pos x="318" y="72"/>
                    </a:cxn>
                    <a:cxn ang="0">
                      <a:pos x="315" y="84"/>
                    </a:cxn>
                    <a:cxn ang="0">
                      <a:pos x="318" y="108"/>
                    </a:cxn>
                    <a:cxn ang="0">
                      <a:pos x="318" y="108"/>
                    </a:cxn>
                    <a:cxn ang="0">
                      <a:pos x="333" y="124"/>
                    </a:cxn>
                    <a:cxn ang="0">
                      <a:pos x="333" y="124"/>
                    </a:cxn>
                    <a:cxn ang="0">
                      <a:pos x="333" y="144"/>
                    </a:cxn>
                    <a:cxn ang="0">
                      <a:pos x="319" y="152"/>
                    </a:cxn>
                    <a:cxn ang="0">
                      <a:pos x="296" y="164"/>
                    </a:cxn>
                    <a:cxn ang="0">
                      <a:pos x="289" y="172"/>
                    </a:cxn>
                    <a:cxn ang="0">
                      <a:pos x="274" y="190"/>
                    </a:cxn>
                    <a:cxn ang="0">
                      <a:pos x="254" y="199"/>
                    </a:cxn>
                    <a:cxn ang="0">
                      <a:pos x="250" y="209"/>
                    </a:cxn>
                    <a:cxn ang="0">
                      <a:pos x="239" y="204"/>
                    </a:cxn>
                    <a:cxn ang="0">
                      <a:pos x="222" y="205"/>
                    </a:cxn>
                    <a:cxn ang="0">
                      <a:pos x="212" y="219"/>
                    </a:cxn>
                    <a:cxn ang="0">
                      <a:pos x="201" y="238"/>
                    </a:cxn>
                    <a:cxn ang="0">
                      <a:pos x="202" y="254"/>
                    </a:cxn>
                    <a:cxn ang="0">
                      <a:pos x="215" y="257"/>
                    </a:cxn>
                    <a:cxn ang="0">
                      <a:pos x="192" y="264"/>
                    </a:cxn>
                    <a:cxn ang="0">
                      <a:pos x="162" y="267"/>
                    </a:cxn>
                    <a:cxn ang="0">
                      <a:pos x="138" y="269"/>
                    </a:cxn>
                    <a:cxn ang="0">
                      <a:pos x="121" y="278"/>
                    </a:cxn>
                    <a:cxn ang="0">
                      <a:pos x="110" y="288"/>
                    </a:cxn>
                    <a:cxn ang="0">
                      <a:pos x="102" y="306"/>
                    </a:cxn>
                    <a:cxn ang="0">
                      <a:pos x="100" y="333"/>
                    </a:cxn>
                    <a:cxn ang="0">
                      <a:pos x="100" y="333"/>
                    </a:cxn>
                    <a:cxn ang="0">
                      <a:pos x="83" y="333"/>
                    </a:cxn>
                    <a:cxn ang="0">
                      <a:pos x="83" y="333"/>
                    </a:cxn>
                    <a:cxn ang="0">
                      <a:pos x="69" y="324"/>
                    </a:cxn>
                    <a:cxn ang="0">
                      <a:pos x="55" y="313"/>
                    </a:cxn>
                    <a:cxn ang="0">
                      <a:pos x="43" y="304"/>
                    </a:cxn>
                    <a:cxn ang="0">
                      <a:pos x="31" y="295"/>
                    </a:cxn>
                    <a:cxn ang="0">
                      <a:pos x="28" y="267"/>
                    </a:cxn>
                    <a:cxn ang="0">
                      <a:pos x="28" y="267"/>
                    </a:cxn>
                  </a:cxnLst>
                  <a:rect l="0" t="0" r="r" b="b"/>
                  <a:pathLst>
                    <a:path w="343" h="333">
                      <a:moveTo>
                        <a:pt x="28" y="267"/>
                      </a:moveTo>
                      <a:cubicBezTo>
                        <a:pt x="28" y="267"/>
                        <a:pt x="31" y="255"/>
                        <a:pt x="20" y="247"/>
                      </a:cubicBezTo>
                      <a:cubicBezTo>
                        <a:pt x="20" y="247"/>
                        <a:pt x="7" y="242"/>
                        <a:pt x="16" y="227"/>
                      </a:cubicBezTo>
                      <a:cubicBezTo>
                        <a:pt x="16" y="227"/>
                        <a:pt x="23" y="219"/>
                        <a:pt x="18" y="197"/>
                      </a:cubicBezTo>
                      <a:cubicBezTo>
                        <a:pt x="18" y="197"/>
                        <a:pt x="13" y="197"/>
                        <a:pt x="15" y="179"/>
                      </a:cubicBezTo>
                      <a:cubicBezTo>
                        <a:pt x="15" y="179"/>
                        <a:pt x="0" y="177"/>
                        <a:pt x="48" y="134"/>
                      </a:cubicBezTo>
                      <a:cubicBezTo>
                        <a:pt x="48" y="134"/>
                        <a:pt x="98" y="73"/>
                        <a:pt x="148" y="45"/>
                      </a:cubicBezTo>
                      <a:cubicBezTo>
                        <a:pt x="148" y="45"/>
                        <a:pt x="145" y="31"/>
                        <a:pt x="172" y="32"/>
                      </a:cubicBezTo>
                      <a:cubicBezTo>
                        <a:pt x="172" y="32"/>
                        <a:pt x="191" y="36"/>
                        <a:pt x="189" y="24"/>
                      </a:cubicBezTo>
                      <a:cubicBezTo>
                        <a:pt x="189" y="24"/>
                        <a:pt x="186" y="12"/>
                        <a:pt x="201" y="13"/>
                      </a:cubicBezTo>
                      <a:cubicBezTo>
                        <a:pt x="201" y="13"/>
                        <a:pt x="202" y="7"/>
                        <a:pt x="201" y="0"/>
                      </a:cubicBezTo>
                      <a:cubicBezTo>
                        <a:pt x="210" y="11"/>
                        <a:pt x="219" y="10"/>
                        <a:pt x="219" y="10"/>
                      </a:cubicBezTo>
                      <a:cubicBezTo>
                        <a:pt x="230" y="7"/>
                        <a:pt x="234" y="14"/>
                        <a:pt x="234" y="14"/>
                      </a:cubicBezTo>
                      <a:cubicBezTo>
                        <a:pt x="243" y="14"/>
                        <a:pt x="244" y="22"/>
                        <a:pt x="244" y="22"/>
                      </a:cubicBezTo>
                      <a:cubicBezTo>
                        <a:pt x="246" y="28"/>
                        <a:pt x="230" y="30"/>
                        <a:pt x="237" y="35"/>
                      </a:cubicBezTo>
                      <a:cubicBezTo>
                        <a:pt x="238" y="44"/>
                        <a:pt x="245" y="40"/>
                        <a:pt x="245" y="40"/>
                      </a:cubicBezTo>
                      <a:cubicBezTo>
                        <a:pt x="256" y="41"/>
                        <a:pt x="259" y="48"/>
                        <a:pt x="259" y="48"/>
                      </a:cubicBezTo>
                      <a:cubicBezTo>
                        <a:pt x="263" y="63"/>
                        <a:pt x="274" y="58"/>
                        <a:pt x="274" y="58"/>
                      </a:cubicBezTo>
                      <a:cubicBezTo>
                        <a:pt x="284" y="53"/>
                        <a:pt x="295" y="58"/>
                        <a:pt x="295" y="58"/>
                      </a:cubicBezTo>
                      <a:cubicBezTo>
                        <a:pt x="305" y="61"/>
                        <a:pt x="304" y="69"/>
                        <a:pt x="304" y="69"/>
                      </a:cubicBezTo>
                      <a:cubicBezTo>
                        <a:pt x="301" y="75"/>
                        <a:pt x="318" y="72"/>
                        <a:pt x="318" y="72"/>
                      </a:cubicBezTo>
                      <a:cubicBezTo>
                        <a:pt x="322" y="78"/>
                        <a:pt x="315" y="84"/>
                        <a:pt x="315" y="84"/>
                      </a:cubicBezTo>
                      <a:cubicBezTo>
                        <a:pt x="312" y="101"/>
                        <a:pt x="318" y="108"/>
                        <a:pt x="318" y="108"/>
                      </a:cubicBezTo>
                      <a:cubicBezTo>
                        <a:pt x="318" y="108"/>
                        <a:pt x="318" y="108"/>
                        <a:pt x="318" y="108"/>
                      </a:cubicBezTo>
                      <a:cubicBezTo>
                        <a:pt x="333" y="124"/>
                        <a:pt x="333" y="124"/>
                        <a:pt x="333" y="124"/>
                      </a:cubicBezTo>
                      <a:cubicBezTo>
                        <a:pt x="333" y="124"/>
                        <a:pt x="333" y="124"/>
                        <a:pt x="333" y="124"/>
                      </a:cubicBezTo>
                      <a:cubicBezTo>
                        <a:pt x="343" y="135"/>
                        <a:pt x="333" y="144"/>
                        <a:pt x="333" y="144"/>
                      </a:cubicBezTo>
                      <a:cubicBezTo>
                        <a:pt x="333" y="151"/>
                        <a:pt x="319" y="152"/>
                        <a:pt x="319" y="152"/>
                      </a:cubicBezTo>
                      <a:cubicBezTo>
                        <a:pt x="289" y="151"/>
                        <a:pt x="296" y="164"/>
                        <a:pt x="296" y="164"/>
                      </a:cubicBezTo>
                      <a:cubicBezTo>
                        <a:pt x="303" y="172"/>
                        <a:pt x="289" y="172"/>
                        <a:pt x="289" y="172"/>
                      </a:cubicBezTo>
                      <a:cubicBezTo>
                        <a:pt x="280" y="194"/>
                        <a:pt x="274" y="190"/>
                        <a:pt x="274" y="190"/>
                      </a:cubicBezTo>
                      <a:cubicBezTo>
                        <a:pt x="269" y="197"/>
                        <a:pt x="259" y="191"/>
                        <a:pt x="254" y="199"/>
                      </a:cubicBezTo>
                      <a:cubicBezTo>
                        <a:pt x="251" y="201"/>
                        <a:pt x="250" y="209"/>
                        <a:pt x="250" y="209"/>
                      </a:cubicBezTo>
                      <a:cubicBezTo>
                        <a:pt x="250" y="209"/>
                        <a:pt x="241" y="212"/>
                        <a:pt x="239" y="204"/>
                      </a:cubicBezTo>
                      <a:cubicBezTo>
                        <a:pt x="239" y="204"/>
                        <a:pt x="228" y="198"/>
                        <a:pt x="222" y="205"/>
                      </a:cubicBezTo>
                      <a:cubicBezTo>
                        <a:pt x="222" y="205"/>
                        <a:pt x="209" y="202"/>
                        <a:pt x="212" y="219"/>
                      </a:cubicBezTo>
                      <a:cubicBezTo>
                        <a:pt x="212" y="219"/>
                        <a:pt x="215" y="237"/>
                        <a:pt x="201" y="238"/>
                      </a:cubicBezTo>
                      <a:cubicBezTo>
                        <a:pt x="201" y="238"/>
                        <a:pt x="199" y="248"/>
                        <a:pt x="202" y="254"/>
                      </a:cubicBezTo>
                      <a:cubicBezTo>
                        <a:pt x="202" y="254"/>
                        <a:pt x="214" y="253"/>
                        <a:pt x="215" y="257"/>
                      </a:cubicBezTo>
                      <a:cubicBezTo>
                        <a:pt x="215" y="257"/>
                        <a:pt x="215" y="265"/>
                        <a:pt x="192" y="264"/>
                      </a:cubicBezTo>
                      <a:cubicBezTo>
                        <a:pt x="192" y="264"/>
                        <a:pt x="171" y="263"/>
                        <a:pt x="162" y="267"/>
                      </a:cubicBezTo>
                      <a:cubicBezTo>
                        <a:pt x="162" y="267"/>
                        <a:pt x="158" y="273"/>
                        <a:pt x="138" y="269"/>
                      </a:cubicBezTo>
                      <a:cubicBezTo>
                        <a:pt x="138" y="269"/>
                        <a:pt x="118" y="262"/>
                        <a:pt x="121" y="278"/>
                      </a:cubicBezTo>
                      <a:cubicBezTo>
                        <a:pt x="121" y="278"/>
                        <a:pt x="119" y="285"/>
                        <a:pt x="110" y="288"/>
                      </a:cubicBezTo>
                      <a:cubicBezTo>
                        <a:pt x="110" y="288"/>
                        <a:pt x="101" y="291"/>
                        <a:pt x="102" y="306"/>
                      </a:cubicBezTo>
                      <a:cubicBezTo>
                        <a:pt x="102" y="306"/>
                        <a:pt x="106" y="316"/>
                        <a:pt x="100" y="333"/>
                      </a:cubicBezTo>
                      <a:cubicBezTo>
                        <a:pt x="100" y="333"/>
                        <a:pt x="100" y="333"/>
                        <a:pt x="100" y="333"/>
                      </a:cubicBezTo>
                      <a:cubicBezTo>
                        <a:pt x="83" y="333"/>
                        <a:pt x="83" y="333"/>
                        <a:pt x="83" y="333"/>
                      </a:cubicBezTo>
                      <a:cubicBezTo>
                        <a:pt x="83" y="333"/>
                        <a:pt x="83" y="333"/>
                        <a:pt x="83" y="333"/>
                      </a:cubicBezTo>
                      <a:cubicBezTo>
                        <a:pt x="83" y="333"/>
                        <a:pt x="80" y="324"/>
                        <a:pt x="69" y="324"/>
                      </a:cubicBezTo>
                      <a:cubicBezTo>
                        <a:pt x="69" y="324"/>
                        <a:pt x="57" y="326"/>
                        <a:pt x="55" y="313"/>
                      </a:cubicBezTo>
                      <a:cubicBezTo>
                        <a:pt x="55" y="313"/>
                        <a:pt x="55" y="297"/>
                        <a:pt x="43" y="304"/>
                      </a:cubicBezTo>
                      <a:cubicBezTo>
                        <a:pt x="43" y="304"/>
                        <a:pt x="33" y="303"/>
                        <a:pt x="31" y="295"/>
                      </a:cubicBezTo>
                      <a:cubicBezTo>
                        <a:pt x="31" y="295"/>
                        <a:pt x="25" y="292"/>
                        <a:pt x="28" y="267"/>
                      </a:cubicBezTo>
                      <a:cubicBezTo>
                        <a:pt x="28" y="267"/>
                        <a:pt x="28" y="267"/>
                        <a:pt x="28" y="267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0" name="Freeform 56"/>
                <p:cNvSpPr>
                  <a:spLocks/>
                </p:cNvSpPr>
                <p:nvPr/>
              </p:nvSpPr>
              <p:spPr bwMode="auto">
                <a:xfrm>
                  <a:off x="1250687" y="3088701"/>
                  <a:ext cx="537629" cy="799542"/>
                </a:xfrm>
                <a:custGeom>
                  <a:avLst/>
                  <a:gdLst/>
                  <a:ahLst/>
                  <a:cxnLst>
                    <a:cxn ang="0">
                      <a:pos x="96" y="288"/>
                    </a:cxn>
                    <a:cxn ang="0">
                      <a:pos x="104" y="292"/>
                    </a:cxn>
                    <a:cxn ang="0">
                      <a:pos x="114" y="294"/>
                    </a:cxn>
                    <a:cxn ang="0">
                      <a:pos x="126" y="302"/>
                    </a:cxn>
                    <a:cxn ang="0">
                      <a:pos x="134" y="304"/>
                    </a:cxn>
                    <a:cxn ang="0">
                      <a:pos x="151" y="309"/>
                    </a:cxn>
                    <a:cxn ang="0">
                      <a:pos x="165" y="318"/>
                    </a:cxn>
                    <a:cxn ang="0">
                      <a:pos x="180" y="320"/>
                    </a:cxn>
                    <a:cxn ang="0">
                      <a:pos x="175" y="303"/>
                    </a:cxn>
                    <a:cxn ang="0">
                      <a:pos x="169" y="266"/>
                    </a:cxn>
                    <a:cxn ang="0">
                      <a:pos x="169" y="223"/>
                    </a:cxn>
                    <a:cxn ang="0">
                      <a:pos x="173" y="188"/>
                    </a:cxn>
                    <a:cxn ang="0">
                      <a:pos x="171" y="153"/>
                    </a:cxn>
                    <a:cxn ang="0">
                      <a:pos x="172" y="134"/>
                    </a:cxn>
                    <a:cxn ang="0">
                      <a:pos x="178" y="111"/>
                    </a:cxn>
                    <a:cxn ang="0">
                      <a:pos x="179" y="100"/>
                    </a:cxn>
                    <a:cxn ang="0">
                      <a:pos x="178" y="89"/>
                    </a:cxn>
                    <a:cxn ang="0">
                      <a:pos x="182" y="55"/>
                    </a:cxn>
                    <a:cxn ang="0">
                      <a:pos x="189" y="24"/>
                    </a:cxn>
                    <a:cxn ang="0">
                      <a:pos x="178" y="10"/>
                    </a:cxn>
                    <a:cxn ang="0">
                      <a:pos x="159" y="5"/>
                    </a:cxn>
                    <a:cxn ang="0">
                      <a:pos x="144" y="12"/>
                    </a:cxn>
                    <a:cxn ang="0">
                      <a:pos x="120" y="20"/>
                    </a:cxn>
                    <a:cxn ang="0">
                      <a:pos x="96" y="23"/>
                    </a:cxn>
                    <a:cxn ang="0">
                      <a:pos x="83" y="45"/>
                    </a:cxn>
                    <a:cxn ang="0">
                      <a:pos x="83" y="65"/>
                    </a:cxn>
                    <a:cxn ang="0">
                      <a:pos x="69" y="73"/>
                    </a:cxn>
                    <a:cxn ang="0">
                      <a:pos x="46" y="85"/>
                    </a:cxn>
                    <a:cxn ang="0">
                      <a:pos x="39" y="93"/>
                    </a:cxn>
                    <a:cxn ang="0">
                      <a:pos x="24" y="111"/>
                    </a:cxn>
                    <a:cxn ang="0">
                      <a:pos x="4" y="120"/>
                    </a:cxn>
                    <a:cxn ang="0">
                      <a:pos x="0" y="130"/>
                    </a:cxn>
                    <a:cxn ang="0">
                      <a:pos x="11" y="172"/>
                    </a:cxn>
                    <a:cxn ang="0">
                      <a:pos x="12" y="185"/>
                    </a:cxn>
                    <a:cxn ang="0">
                      <a:pos x="9" y="200"/>
                    </a:cxn>
                    <a:cxn ang="0">
                      <a:pos x="25" y="206"/>
                    </a:cxn>
                    <a:cxn ang="0">
                      <a:pos x="14" y="214"/>
                    </a:cxn>
                    <a:cxn ang="0">
                      <a:pos x="28" y="230"/>
                    </a:cxn>
                    <a:cxn ang="0">
                      <a:pos x="37" y="236"/>
                    </a:cxn>
                    <a:cxn ang="0">
                      <a:pos x="45" y="245"/>
                    </a:cxn>
                    <a:cxn ang="0">
                      <a:pos x="53" y="254"/>
                    </a:cxn>
                    <a:cxn ang="0">
                      <a:pos x="68" y="254"/>
                    </a:cxn>
                    <a:cxn ang="0">
                      <a:pos x="82" y="262"/>
                    </a:cxn>
                    <a:cxn ang="0">
                      <a:pos x="96" y="288"/>
                    </a:cxn>
                    <a:cxn ang="0">
                      <a:pos x="96" y="288"/>
                    </a:cxn>
                  </a:cxnLst>
                  <a:rect l="0" t="0" r="r" b="b"/>
                  <a:pathLst>
                    <a:path w="190" h="320">
                      <a:moveTo>
                        <a:pt x="96" y="288"/>
                      </a:moveTo>
                      <a:cubicBezTo>
                        <a:pt x="96" y="288"/>
                        <a:pt x="104" y="286"/>
                        <a:pt x="104" y="292"/>
                      </a:cubicBezTo>
                      <a:cubicBezTo>
                        <a:pt x="104" y="292"/>
                        <a:pt x="107" y="302"/>
                        <a:pt x="114" y="294"/>
                      </a:cubicBezTo>
                      <a:cubicBezTo>
                        <a:pt x="114" y="294"/>
                        <a:pt x="122" y="284"/>
                        <a:pt x="126" y="302"/>
                      </a:cubicBezTo>
                      <a:cubicBezTo>
                        <a:pt x="126" y="302"/>
                        <a:pt x="120" y="319"/>
                        <a:pt x="134" y="304"/>
                      </a:cubicBezTo>
                      <a:cubicBezTo>
                        <a:pt x="134" y="304"/>
                        <a:pt x="148" y="291"/>
                        <a:pt x="151" y="309"/>
                      </a:cubicBezTo>
                      <a:cubicBezTo>
                        <a:pt x="151" y="309"/>
                        <a:pt x="155" y="320"/>
                        <a:pt x="165" y="318"/>
                      </a:cubicBezTo>
                      <a:cubicBezTo>
                        <a:pt x="165" y="318"/>
                        <a:pt x="174" y="316"/>
                        <a:pt x="180" y="320"/>
                      </a:cubicBezTo>
                      <a:cubicBezTo>
                        <a:pt x="182" y="309"/>
                        <a:pt x="175" y="303"/>
                        <a:pt x="175" y="303"/>
                      </a:cubicBezTo>
                      <a:cubicBezTo>
                        <a:pt x="166" y="294"/>
                        <a:pt x="169" y="266"/>
                        <a:pt x="169" y="266"/>
                      </a:cubicBezTo>
                      <a:cubicBezTo>
                        <a:pt x="165" y="249"/>
                        <a:pt x="169" y="223"/>
                        <a:pt x="169" y="223"/>
                      </a:cubicBezTo>
                      <a:cubicBezTo>
                        <a:pt x="175" y="216"/>
                        <a:pt x="166" y="201"/>
                        <a:pt x="173" y="188"/>
                      </a:cubicBezTo>
                      <a:cubicBezTo>
                        <a:pt x="179" y="170"/>
                        <a:pt x="171" y="153"/>
                        <a:pt x="171" y="153"/>
                      </a:cubicBezTo>
                      <a:cubicBezTo>
                        <a:pt x="166" y="139"/>
                        <a:pt x="172" y="134"/>
                        <a:pt x="172" y="134"/>
                      </a:cubicBezTo>
                      <a:cubicBezTo>
                        <a:pt x="172" y="134"/>
                        <a:pt x="178" y="128"/>
                        <a:pt x="178" y="111"/>
                      </a:cubicBezTo>
                      <a:cubicBezTo>
                        <a:pt x="175" y="109"/>
                        <a:pt x="179" y="100"/>
                        <a:pt x="179" y="100"/>
                      </a:cubicBezTo>
                      <a:cubicBezTo>
                        <a:pt x="184" y="93"/>
                        <a:pt x="178" y="89"/>
                        <a:pt x="178" y="89"/>
                      </a:cubicBezTo>
                      <a:cubicBezTo>
                        <a:pt x="168" y="65"/>
                        <a:pt x="182" y="55"/>
                        <a:pt x="182" y="55"/>
                      </a:cubicBezTo>
                      <a:cubicBezTo>
                        <a:pt x="182" y="32"/>
                        <a:pt x="190" y="42"/>
                        <a:pt x="189" y="24"/>
                      </a:cubicBezTo>
                      <a:cubicBezTo>
                        <a:pt x="182" y="22"/>
                        <a:pt x="188" y="0"/>
                        <a:pt x="178" y="10"/>
                      </a:cubicBezTo>
                      <a:cubicBezTo>
                        <a:pt x="170" y="2"/>
                        <a:pt x="159" y="5"/>
                        <a:pt x="159" y="5"/>
                      </a:cubicBezTo>
                      <a:cubicBezTo>
                        <a:pt x="150" y="3"/>
                        <a:pt x="144" y="12"/>
                        <a:pt x="144" y="12"/>
                      </a:cubicBezTo>
                      <a:cubicBezTo>
                        <a:pt x="137" y="20"/>
                        <a:pt x="120" y="20"/>
                        <a:pt x="120" y="20"/>
                      </a:cubicBezTo>
                      <a:cubicBezTo>
                        <a:pt x="110" y="26"/>
                        <a:pt x="98" y="7"/>
                        <a:pt x="96" y="23"/>
                      </a:cubicBezTo>
                      <a:cubicBezTo>
                        <a:pt x="98" y="31"/>
                        <a:pt x="83" y="45"/>
                        <a:pt x="83" y="45"/>
                      </a:cubicBezTo>
                      <a:cubicBezTo>
                        <a:pt x="94" y="56"/>
                        <a:pt x="83" y="65"/>
                        <a:pt x="83" y="65"/>
                      </a:cubicBezTo>
                      <a:cubicBezTo>
                        <a:pt x="83" y="72"/>
                        <a:pt x="69" y="73"/>
                        <a:pt x="69" y="73"/>
                      </a:cubicBezTo>
                      <a:cubicBezTo>
                        <a:pt x="39" y="72"/>
                        <a:pt x="46" y="85"/>
                        <a:pt x="46" y="85"/>
                      </a:cubicBezTo>
                      <a:cubicBezTo>
                        <a:pt x="53" y="93"/>
                        <a:pt x="39" y="93"/>
                        <a:pt x="39" y="93"/>
                      </a:cubicBezTo>
                      <a:cubicBezTo>
                        <a:pt x="30" y="115"/>
                        <a:pt x="24" y="111"/>
                        <a:pt x="24" y="111"/>
                      </a:cubicBezTo>
                      <a:cubicBezTo>
                        <a:pt x="19" y="118"/>
                        <a:pt x="9" y="112"/>
                        <a:pt x="4" y="120"/>
                      </a:cubicBezTo>
                      <a:cubicBezTo>
                        <a:pt x="1" y="122"/>
                        <a:pt x="0" y="130"/>
                        <a:pt x="0" y="130"/>
                      </a:cubicBezTo>
                      <a:cubicBezTo>
                        <a:pt x="0" y="130"/>
                        <a:pt x="11" y="150"/>
                        <a:pt x="11" y="172"/>
                      </a:cubicBezTo>
                      <a:cubicBezTo>
                        <a:pt x="11" y="172"/>
                        <a:pt x="17" y="182"/>
                        <a:pt x="12" y="185"/>
                      </a:cubicBezTo>
                      <a:cubicBezTo>
                        <a:pt x="12" y="185"/>
                        <a:pt x="7" y="192"/>
                        <a:pt x="9" y="200"/>
                      </a:cubicBezTo>
                      <a:cubicBezTo>
                        <a:pt x="9" y="200"/>
                        <a:pt x="24" y="199"/>
                        <a:pt x="25" y="206"/>
                      </a:cubicBezTo>
                      <a:cubicBezTo>
                        <a:pt x="25" y="206"/>
                        <a:pt x="28" y="213"/>
                        <a:pt x="14" y="214"/>
                      </a:cubicBezTo>
                      <a:cubicBezTo>
                        <a:pt x="31" y="217"/>
                        <a:pt x="22" y="228"/>
                        <a:pt x="28" y="230"/>
                      </a:cubicBezTo>
                      <a:cubicBezTo>
                        <a:pt x="28" y="230"/>
                        <a:pt x="39" y="221"/>
                        <a:pt x="37" y="236"/>
                      </a:cubicBezTo>
                      <a:cubicBezTo>
                        <a:pt x="37" y="236"/>
                        <a:pt x="35" y="258"/>
                        <a:pt x="45" y="245"/>
                      </a:cubicBezTo>
                      <a:cubicBezTo>
                        <a:pt x="45" y="245"/>
                        <a:pt x="52" y="230"/>
                        <a:pt x="53" y="254"/>
                      </a:cubicBezTo>
                      <a:cubicBezTo>
                        <a:pt x="53" y="254"/>
                        <a:pt x="45" y="273"/>
                        <a:pt x="68" y="254"/>
                      </a:cubicBezTo>
                      <a:cubicBezTo>
                        <a:pt x="68" y="254"/>
                        <a:pt x="79" y="248"/>
                        <a:pt x="82" y="262"/>
                      </a:cubicBezTo>
                      <a:cubicBezTo>
                        <a:pt x="82" y="262"/>
                        <a:pt x="99" y="267"/>
                        <a:pt x="96" y="288"/>
                      </a:cubicBezTo>
                      <a:cubicBezTo>
                        <a:pt x="96" y="288"/>
                        <a:pt x="96" y="288"/>
                        <a:pt x="96" y="288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1" name="Freeform 55"/>
                <p:cNvSpPr>
                  <a:spLocks/>
                </p:cNvSpPr>
                <p:nvPr/>
              </p:nvSpPr>
              <p:spPr bwMode="auto">
                <a:xfrm>
                  <a:off x="985275" y="2301233"/>
                  <a:ext cx="796236" cy="760638"/>
                </a:xfrm>
                <a:custGeom>
                  <a:avLst/>
                  <a:gdLst/>
                  <a:ahLst/>
                  <a:cxnLst>
                    <a:cxn ang="0">
                      <a:pos x="45" y="236"/>
                    </a:cxn>
                    <a:cxn ang="0">
                      <a:pos x="36" y="206"/>
                    </a:cxn>
                    <a:cxn ang="0">
                      <a:pos x="37" y="194"/>
                    </a:cxn>
                    <a:cxn ang="0">
                      <a:pos x="53" y="194"/>
                    </a:cxn>
                    <a:cxn ang="0">
                      <a:pos x="29" y="149"/>
                    </a:cxn>
                    <a:cxn ang="0">
                      <a:pos x="20" y="126"/>
                    </a:cxn>
                    <a:cxn ang="0">
                      <a:pos x="9" y="107"/>
                    </a:cxn>
                    <a:cxn ang="0">
                      <a:pos x="12" y="87"/>
                    </a:cxn>
                    <a:cxn ang="0">
                      <a:pos x="12" y="87"/>
                    </a:cxn>
                    <a:cxn ang="0">
                      <a:pos x="5" y="63"/>
                    </a:cxn>
                    <a:cxn ang="0">
                      <a:pos x="5" y="63"/>
                    </a:cxn>
                    <a:cxn ang="0">
                      <a:pos x="18" y="46"/>
                    </a:cxn>
                    <a:cxn ang="0">
                      <a:pos x="42" y="52"/>
                    </a:cxn>
                    <a:cxn ang="0">
                      <a:pos x="60" y="50"/>
                    </a:cxn>
                    <a:cxn ang="0">
                      <a:pos x="84" y="32"/>
                    </a:cxn>
                    <a:cxn ang="0">
                      <a:pos x="93" y="15"/>
                    </a:cxn>
                    <a:cxn ang="0">
                      <a:pos x="129" y="10"/>
                    </a:cxn>
                    <a:cxn ang="0">
                      <a:pos x="178" y="7"/>
                    </a:cxn>
                    <a:cxn ang="0">
                      <a:pos x="206" y="12"/>
                    </a:cxn>
                    <a:cxn ang="0">
                      <a:pos x="225" y="14"/>
                    </a:cxn>
                    <a:cxn ang="0">
                      <a:pos x="228" y="26"/>
                    </a:cxn>
                    <a:cxn ang="0">
                      <a:pos x="225" y="39"/>
                    </a:cxn>
                    <a:cxn ang="0">
                      <a:pos x="218" y="54"/>
                    </a:cxn>
                    <a:cxn ang="0">
                      <a:pos x="221" y="74"/>
                    </a:cxn>
                    <a:cxn ang="0">
                      <a:pos x="222" y="85"/>
                    </a:cxn>
                    <a:cxn ang="0">
                      <a:pos x="218" y="114"/>
                    </a:cxn>
                    <a:cxn ang="0">
                      <a:pos x="229" y="116"/>
                    </a:cxn>
                    <a:cxn ang="0">
                      <a:pos x="248" y="126"/>
                    </a:cxn>
                    <a:cxn ang="0">
                      <a:pos x="259" y="143"/>
                    </a:cxn>
                    <a:cxn ang="0">
                      <a:pos x="267" y="162"/>
                    </a:cxn>
                    <a:cxn ang="0">
                      <a:pos x="258" y="174"/>
                    </a:cxn>
                    <a:cxn ang="0">
                      <a:pos x="272" y="186"/>
                    </a:cxn>
                    <a:cxn ang="0">
                      <a:pos x="257" y="195"/>
                    </a:cxn>
                    <a:cxn ang="0">
                      <a:pos x="259" y="210"/>
                    </a:cxn>
                    <a:cxn ang="0">
                      <a:pos x="249" y="221"/>
                    </a:cxn>
                    <a:cxn ang="0">
                      <a:pos x="245" y="235"/>
                    </a:cxn>
                    <a:cxn ang="0">
                      <a:pos x="232" y="247"/>
                    </a:cxn>
                    <a:cxn ang="0">
                      <a:pos x="217" y="238"/>
                    </a:cxn>
                    <a:cxn ang="0">
                      <a:pos x="199" y="243"/>
                    </a:cxn>
                    <a:cxn ang="0">
                      <a:pos x="182" y="247"/>
                    </a:cxn>
                    <a:cxn ang="0">
                      <a:pos x="170" y="260"/>
                    </a:cxn>
                    <a:cxn ang="0">
                      <a:pos x="157" y="280"/>
                    </a:cxn>
                    <a:cxn ang="0">
                      <a:pos x="157" y="295"/>
                    </a:cxn>
                    <a:cxn ang="0">
                      <a:pos x="148" y="304"/>
                    </a:cxn>
                    <a:cxn ang="0">
                      <a:pos x="139" y="294"/>
                    </a:cxn>
                    <a:cxn ang="0">
                      <a:pos x="118" y="294"/>
                    </a:cxn>
                    <a:cxn ang="0">
                      <a:pos x="103" y="284"/>
                    </a:cxn>
                    <a:cxn ang="0">
                      <a:pos x="89" y="276"/>
                    </a:cxn>
                    <a:cxn ang="0">
                      <a:pos x="81" y="271"/>
                    </a:cxn>
                    <a:cxn ang="0">
                      <a:pos x="88" y="258"/>
                    </a:cxn>
                    <a:cxn ang="0">
                      <a:pos x="78" y="250"/>
                    </a:cxn>
                    <a:cxn ang="0">
                      <a:pos x="63" y="246"/>
                    </a:cxn>
                    <a:cxn ang="0">
                      <a:pos x="45" y="236"/>
                    </a:cxn>
                    <a:cxn ang="0">
                      <a:pos x="45" y="236"/>
                    </a:cxn>
                  </a:cxnLst>
                  <a:rect l="0" t="0" r="r" b="b"/>
                  <a:pathLst>
                    <a:path w="281" h="304">
                      <a:moveTo>
                        <a:pt x="45" y="236"/>
                      </a:moveTo>
                      <a:cubicBezTo>
                        <a:pt x="45" y="227"/>
                        <a:pt x="42" y="216"/>
                        <a:pt x="36" y="206"/>
                      </a:cubicBezTo>
                      <a:cubicBezTo>
                        <a:pt x="36" y="206"/>
                        <a:pt x="24" y="198"/>
                        <a:pt x="37" y="194"/>
                      </a:cubicBezTo>
                      <a:cubicBezTo>
                        <a:pt x="37" y="194"/>
                        <a:pt x="43" y="192"/>
                        <a:pt x="53" y="194"/>
                      </a:cubicBezTo>
                      <a:cubicBezTo>
                        <a:pt x="53" y="184"/>
                        <a:pt x="32" y="184"/>
                        <a:pt x="29" y="149"/>
                      </a:cubicBezTo>
                      <a:cubicBezTo>
                        <a:pt x="23" y="143"/>
                        <a:pt x="31" y="128"/>
                        <a:pt x="20" y="126"/>
                      </a:cubicBezTo>
                      <a:cubicBezTo>
                        <a:pt x="8" y="124"/>
                        <a:pt x="14" y="108"/>
                        <a:pt x="9" y="107"/>
                      </a:cubicBezTo>
                      <a:cubicBezTo>
                        <a:pt x="9" y="107"/>
                        <a:pt x="0" y="103"/>
                        <a:pt x="12" y="87"/>
                      </a:cubicBezTo>
                      <a:cubicBezTo>
                        <a:pt x="12" y="87"/>
                        <a:pt x="12" y="87"/>
                        <a:pt x="12" y="87"/>
                      </a:cubicBezTo>
                      <a:cubicBezTo>
                        <a:pt x="5" y="63"/>
                        <a:pt x="5" y="63"/>
                        <a:pt x="5" y="63"/>
                      </a:cubicBezTo>
                      <a:cubicBezTo>
                        <a:pt x="5" y="63"/>
                        <a:pt x="5" y="63"/>
                        <a:pt x="5" y="63"/>
                      </a:cubicBezTo>
                      <a:cubicBezTo>
                        <a:pt x="5" y="63"/>
                        <a:pt x="6" y="45"/>
                        <a:pt x="18" y="46"/>
                      </a:cubicBezTo>
                      <a:cubicBezTo>
                        <a:pt x="18" y="46"/>
                        <a:pt x="38" y="44"/>
                        <a:pt x="42" y="52"/>
                      </a:cubicBezTo>
                      <a:cubicBezTo>
                        <a:pt x="42" y="52"/>
                        <a:pt x="37" y="68"/>
                        <a:pt x="60" y="50"/>
                      </a:cubicBezTo>
                      <a:cubicBezTo>
                        <a:pt x="60" y="50"/>
                        <a:pt x="75" y="43"/>
                        <a:pt x="84" y="32"/>
                      </a:cubicBezTo>
                      <a:cubicBezTo>
                        <a:pt x="84" y="32"/>
                        <a:pt x="86" y="22"/>
                        <a:pt x="93" y="15"/>
                      </a:cubicBezTo>
                      <a:cubicBezTo>
                        <a:pt x="93" y="15"/>
                        <a:pt x="96" y="3"/>
                        <a:pt x="129" y="10"/>
                      </a:cubicBezTo>
                      <a:cubicBezTo>
                        <a:pt x="129" y="10"/>
                        <a:pt x="163" y="15"/>
                        <a:pt x="178" y="7"/>
                      </a:cubicBezTo>
                      <a:cubicBezTo>
                        <a:pt x="204" y="0"/>
                        <a:pt x="196" y="8"/>
                        <a:pt x="206" y="12"/>
                      </a:cubicBezTo>
                      <a:cubicBezTo>
                        <a:pt x="206" y="12"/>
                        <a:pt x="213" y="13"/>
                        <a:pt x="225" y="14"/>
                      </a:cubicBezTo>
                      <a:cubicBezTo>
                        <a:pt x="224" y="23"/>
                        <a:pt x="228" y="26"/>
                        <a:pt x="228" y="26"/>
                      </a:cubicBezTo>
                      <a:cubicBezTo>
                        <a:pt x="236" y="25"/>
                        <a:pt x="233" y="41"/>
                        <a:pt x="225" y="39"/>
                      </a:cubicBezTo>
                      <a:cubicBezTo>
                        <a:pt x="221" y="45"/>
                        <a:pt x="218" y="54"/>
                        <a:pt x="218" y="54"/>
                      </a:cubicBezTo>
                      <a:cubicBezTo>
                        <a:pt x="214" y="68"/>
                        <a:pt x="221" y="74"/>
                        <a:pt x="221" y="74"/>
                      </a:cubicBezTo>
                      <a:cubicBezTo>
                        <a:pt x="228" y="80"/>
                        <a:pt x="222" y="85"/>
                        <a:pt x="222" y="85"/>
                      </a:cubicBezTo>
                      <a:cubicBezTo>
                        <a:pt x="223" y="107"/>
                        <a:pt x="218" y="114"/>
                        <a:pt x="218" y="114"/>
                      </a:cubicBezTo>
                      <a:cubicBezTo>
                        <a:pt x="221" y="130"/>
                        <a:pt x="229" y="116"/>
                        <a:pt x="229" y="116"/>
                      </a:cubicBezTo>
                      <a:cubicBezTo>
                        <a:pt x="246" y="110"/>
                        <a:pt x="248" y="126"/>
                        <a:pt x="248" y="126"/>
                      </a:cubicBezTo>
                      <a:cubicBezTo>
                        <a:pt x="252" y="141"/>
                        <a:pt x="259" y="143"/>
                        <a:pt x="259" y="143"/>
                      </a:cubicBezTo>
                      <a:cubicBezTo>
                        <a:pt x="281" y="162"/>
                        <a:pt x="267" y="162"/>
                        <a:pt x="267" y="162"/>
                      </a:cubicBezTo>
                      <a:cubicBezTo>
                        <a:pt x="258" y="165"/>
                        <a:pt x="258" y="174"/>
                        <a:pt x="258" y="174"/>
                      </a:cubicBezTo>
                      <a:cubicBezTo>
                        <a:pt x="276" y="173"/>
                        <a:pt x="272" y="186"/>
                        <a:pt x="272" y="186"/>
                      </a:cubicBezTo>
                      <a:cubicBezTo>
                        <a:pt x="273" y="196"/>
                        <a:pt x="257" y="192"/>
                        <a:pt x="257" y="195"/>
                      </a:cubicBezTo>
                      <a:cubicBezTo>
                        <a:pt x="271" y="205"/>
                        <a:pt x="259" y="210"/>
                        <a:pt x="259" y="210"/>
                      </a:cubicBezTo>
                      <a:cubicBezTo>
                        <a:pt x="260" y="217"/>
                        <a:pt x="249" y="221"/>
                        <a:pt x="249" y="221"/>
                      </a:cubicBezTo>
                      <a:cubicBezTo>
                        <a:pt x="242" y="225"/>
                        <a:pt x="245" y="235"/>
                        <a:pt x="245" y="235"/>
                      </a:cubicBezTo>
                      <a:cubicBezTo>
                        <a:pt x="246" y="258"/>
                        <a:pt x="232" y="247"/>
                        <a:pt x="232" y="247"/>
                      </a:cubicBezTo>
                      <a:cubicBezTo>
                        <a:pt x="224" y="247"/>
                        <a:pt x="225" y="237"/>
                        <a:pt x="217" y="238"/>
                      </a:cubicBezTo>
                      <a:cubicBezTo>
                        <a:pt x="210" y="236"/>
                        <a:pt x="210" y="243"/>
                        <a:pt x="199" y="243"/>
                      </a:cubicBezTo>
                      <a:cubicBezTo>
                        <a:pt x="184" y="239"/>
                        <a:pt x="182" y="247"/>
                        <a:pt x="182" y="247"/>
                      </a:cubicBezTo>
                      <a:cubicBezTo>
                        <a:pt x="177" y="252"/>
                        <a:pt x="181" y="265"/>
                        <a:pt x="170" y="260"/>
                      </a:cubicBezTo>
                      <a:cubicBezTo>
                        <a:pt x="153" y="257"/>
                        <a:pt x="157" y="280"/>
                        <a:pt x="157" y="280"/>
                      </a:cubicBezTo>
                      <a:cubicBezTo>
                        <a:pt x="168" y="291"/>
                        <a:pt x="157" y="295"/>
                        <a:pt x="157" y="295"/>
                      </a:cubicBezTo>
                      <a:cubicBezTo>
                        <a:pt x="155" y="301"/>
                        <a:pt x="148" y="304"/>
                        <a:pt x="148" y="304"/>
                      </a:cubicBezTo>
                      <a:cubicBezTo>
                        <a:pt x="148" y="304"/>
                        <a:pt x="149" y="297"/>
                        <a:pt x="139" y="294"/>
                      </a:cubicBezTo>
                      <a:cubicBezTo>
                        <a:pt x="139" y="294"/>
                        <a:pt x="128" y="289"/>
                        <a:pt x="118" y="294"/>
                      </a:cubicBezTo>
                      <a:cubicBezTo>
                        <a:pt x="118" y="294"/>
                        <a:pt x="107" y="299"/>
                        <a:pt x="103" y="284"/>
                      </a:cubicBezTo>
                      <a:cubicBezTo>
                        <a:pt x="103" y="284"/>
                        <a:pt x="100" y="277"/>
                        <a:pt x="89" y="276"/>
                      </a:cubicBezTo>
                      <a:cubicBezTo>
                        <a:pt x="89" y="276"/>
                        <a:pt x="82" y="280"/>
                        <a:pt x="81" y="271"/>
                      </a:cubicBezTo>
                      <a:cubicBezTo>
                        <a:pt x="74" y="266"/>
                        <a:pt x="90" y="264"/>
                        <a:pt x="88" y="258"/>
                      </a:cubicBezTo>
                      <a:cubicBezTo>
                        <a:pt x="88" y="258"/>
                        <a:pt x="87" y="250"/>
                        <a:pt x="78" y="250"/>
                      </a:cubicBezTo>
                      <a:cubicBezTo>
                        <a:pt x="78" y="250"/>
                        <a:pt x="74" y="243"/>
                        <a:pt x="63" y="246"/>
                      </a:cubicBezTo>
                      <a:cubicBezTo>
                        <a:pt x="63" y="246"/>
                        <a:pt x="54" y="247"/>
                        <a:pt x="45" y="236"/>
                      </a:cubicBezTo>
                      <a:cubicBezTo>
                        <a:pt x="45" y="236"/>
                        <a:pt x="45" y="236"/>
                        <a:pt x="45" y="236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2" name="Freeform 54"/>
                <p:cNvSpPr>
                  <a:spLocks/>
                </p:cNvSpPr>
                <p:nvPr/>
              </p:nvSpPr>
              <p:spPr bwMode="auto">
                <a:xfrm>
                  <a:off x="1393601" y="2324039"/>
                  <a:ext cx="916012" cy="877349"/>
                </a:xfrm>
                <a:custGeom>
                  <a:avLst/>
                  <a:gdLst/>
                  <a:ahLst/>
                  <a:cxnLst>
                    <a:cxn ang="0">
                      <a:pos x="83" y="17"/>
                    </a:cxn>
                    <a:cxn ang="0">
                      <a:pos x="73" y="45"/>
                    </a:cxn>
                    <a:cxn ang="0">
                      <a:pos x="77" y="76"/>
                    </a:cxn>
                    <a:cxn ang="0">
                      <a:pos x="84" y="107"/>
                    </a:cxn>
                    <a:cxn ang="0">
                      <a:pos x="114" y="134"/>
                    </a:cxn>
                    <a:cxn ang="0">
                      <a:pos x="113" y="165"/>
                    </a:cxn>
                    <a:cxn ang="0">
                      <a:pos x="112" y="186"/>
                    </a:cxn>
                    <a:cxn ang="0">
                      <a:pos x="104" y="212"/>
                    </a:cxn>
                    <a:cxn ang="0">
                      <a:pos x="87" y="238"/>
                    </a:cxn>
                    <a:cxn ang="0">
                      <a:pos x="54" y="234"/>
                    </a:cxn>
                    <a:cxn ang="0">
                      <a:pos x="25" y="251"/>
                    </a:cxn>
                    <a:cxn ang="0">
                      <a:pos x="12" y="286"/>
                    </a:cxn>
                    <a:cxn ang="0">
                      <a:pos x="17" y="299"/>
                    </a:cxn>
                    <a:cxn ang="0">
                      <a:pos x="17" y="335"/>
                    </a:cxn>
                    <a:cxn ang="0">
                      <a:pos x="32" y="351"/>
                    </a:cxn>
                    <a:cxn ang="0">
                      <a:pos x="45" y="329"/>
                    </a:cxn>
                    <a:cxn ang="0">
                      <a:pos x="93" y="318"/>
                    </a:cxn>
                    <a:cxn ang="0">
                      <a:pos x="127" y="316"/>
                    </a:cxn>
                    <a:cxn ang="0">
                      <a:pos x="146" y="326"/>
                    </a:cxn>
                    <a:cxn ang="0">
                      <a:pos x="176" y="306"/>
                    </a:cxn>
                    <a:cxn ang="0">
                      <a:pos x="216" y="272"/>
                    </a:cxn>
                    <a:cxn ang="0">
                      <a:pos x="251" y="268"/>
                    </a:cxn>
                    <a:cxn ang="0">
                      <a:pos x="256" y="245"/>
                    </a:cxn>
                    <a:cxn ang="0">
                      <a:pos x="256" y="207"/>
                    </a:cxn>
                    <a:cxn ang="0">
                      <a:pos x="272" y="168"/>
                    </a:cxn>
                    <a:cxn ang="0">
                      <a:pos x="280" y="151"/>
                    </a:cxn>
                    <a:cxn ang="0">
                      <a:pos x="286" y="132"/>
                    </a:cxn>
                    <a:cxn ang="0">
                      <a:pos x="292" y="107"/>
                    </a:cxn>
                    <a:cxn ang="0">
                      <a:pos x="306" y="101"/>
                    </a:cxn>
                    <a:cxn ang="0">
                      <a:pos x="322" y="85"/>
                    </a:cxn>
                    <a:cxn ang="0">
                      <a:pos x="270" y="70"/>
                    </a:cxn>
                    <a:cxn ang="0">
                      <a:pos x="263" y="52"/>
                    </a:cxn>
                    <a:cxn ang="0">
                      <a:pos x="253" y="45"/>
                    </a:cxn>
                    <a:cxn ang="0">
                      <a:pos x="234" y="46"/>
                    </a:cxn>
                    <a:cxn ang="0">
                      <a:pos x="181" y="28"/>
                    </a:cxn>
                    <a:cxn ang="0">
                      <a:pos x="148" y="17"/>
                    </a:cxn>
                    <a:cxn ang="0">
                      <a:pos x="105" y="5"/>
                    </a:cxn>
                    <a:cxn ang="0">
                      <a:pos x="80" y="4"/>
                    </a:cxn>
                  </a:cxnLst>
                  <a:rect l="0" t="0" r="r" b="b"/>
                  <a:pathLst>
                    <a:path w="323" h="351">
                      <a:moveTo>
                        <a:pt x="80" y="4"/>
                      </a:moveTo>
                      <a:cubicBezTo>
                        <a:pt x="79" y="13"/>
                        <a:pt x="83" y="17"/>
                        <a:pt x="83" y="17"/>
                      </a:cubicBezTo>
                      <a:cubicBezTo>
                        <a:pt x="91" y="16"/>
                        <a:pt x="88" y="32"/>
                        <a:pt x="80" y="30"/>
                      </a:cubicBezTo>
                      <a:cubicBezTo>
                        <a:pt x="76" y="36"/>
                        <a:pt x="73" y="45"/>
                        <a:pt x="73" y="45"/>
                      </a:cubicBezTo>
                      <a:cubicBezTo>
                        <a:pt x="69" y="59"/>
                        <a:pt x="76" y="65"/>
                        <a:pt x="76" y="65"/>
                      </a:cubicBezTo>
                      <a:cubicBezTo>
                        <a:pt x="83" y="71"/>
                        <a:pt x="77" y="76"/>
                        <a:pt x="77" y="76"/>
                      </a:cubicBezTo>
                      <a:cubicBezTo>
                        <a:pt x="78" y="98"/>
                        <a:pt x="73" y="105"/>
                        <a:pt x="73" y="105"/>
                      </a:cubicBezTo>
                      <a:cubicBezTo>
                        <a:pt x="76" y="121"/>
                        <a:pt x="84" y="107"/>
                        <a:pt x="84" y="107"/>
                      </a:cubicBezTo>
                      <a:cubicBezTo>
                        <a:pt x="101" y="101"/>
                        <a:pt x="103" y="117"/>
                        <a:pt x="103" y="117"/>
                      </a:cubicBezTo>
                      <a:cubicBezTo>
                        <a:pt x="107" y="132"/>
                        <a:pt x="114" y="134"/>
                        <a:pt x="114" y="134"/>
                      </a:cubicBezTo>
                      <a:cubicBezTo>
                        <a:pt x="136" y="153"/>
                        <a:pt x="122" y="153"/>
                        <a:pt x="122" y="153"/>
                      </a:cubicBezTo>
                      <a:cubicBezTo>
                        <a:pt x="113" y="156"/>
                        <a:pt x="113" y="165"/>
                        <a:pt x="113" y="165"/>
                      </a:cubicBezTo>
                      <a:cubicBezTo>
                        <a:pt x="131" y="164"/>
                        <a:pt x="127" y="177"/>
                        <a:pt x="127" y="177"/>
                      </a:cubicBezTo>
                      <a:cubicBezTo>
                        <a:pt x="128" y="187"/>
                        <a:pt x="112" y="183"/>
                        <a:pt x="112" y="186"/>
                      </a:cubicBezTo>
                      <a:cubicBezTo>
                        <a:pt x="126" y="196"/>
                        <a:pt x="114" y="201"/>
                        <a:pt x="114" y="201"/>
                      </a:cubicBezTo>
                      <a:cubicBezTo>
                        <a:pt x="115" y="208"/>
                        <a:pt x="104" y="212"/>
                        <a:pt x="104" y="212"/>
                      </a:cubicBezTo>
                      <a:cubicBezTo>
                        <a:pt x="97" y="216"/>
                        <a:pt x="100" y="226"/>
                        <a:pt x="100" y="226"/>
                      </a:cubicBezTo>
                      <a:cubicBezTo>
                        <a:pt x="101" y="249"/>
                        <a:pt x="87" y="238"/>
                        <a:pt x="87" y="238"/>
                      </a:cubicBezTo>
                      <a:cubicBezTo>
                        <a:pt x="79" y="238"/>
                        <a:pt x="80" y="228"/>
                        <a:pt x="72" y="229"/>
                      </a:cubicBezTo>
                      <a:cubicBezTo>
                        <a:pt x="65" y="227"/>
                        <a:pt x="65" y="234"/>
                        <a:pt x="54" y="234"/>
                      </a:cubicBezTo>
                      <a:cubicBezTo>
                        <a:pt x="39" y="230"/>
                        <a:pt x="37" y="238"/>
                        <a:pt x="37" y="238"/>
                      </a:cubicBezTo>
                      <a:cubicBezTo>
                        <a:pt x="32" y="243"/>
                        <a:pt x="36" y="256"/>
                        <a:pt x="25" y="251"/>
                      </a:cubicBezTo>
                      <a:cubicBezTo>
                        <a:pt x="8" y="248"/>
                        <a:pt x="12" y="271"/>
                        <a:pt x="12" y="271"/>
                      </a:cubicBezTo>
                      <a:cubicBezTo>
                        <a:pt x="23" y="282"/>
                        <a:pt x="12" y="286"/>
                        <a:pt x="12" y="286"/>
                      </a:cubicBezTo>
                      <a:cubicBezTo>
                        <a:pt x="10" y="292"/>
                        <a:pt x="3" y="295"/>
                        <a:pt x="3" y="295"/>
                      </a:cubicBezTo>
                      <a:cubicBezTo>
                        <a:pt x="0" y="302"/>
                        <a:pt x="17" y="299"/>
                        <a:pt x="17" y="299"/>
                      </a:cubicBezTo>
                      <a:cubicBezTo>
                        <a:pt x="21" y="304"/>
                        <a:pt x="14" y="311"/>
                        <a:pt x="14" y="311"/>
                      </a:cubicBezTo>
                      <a:cubicBezTo>
                        <a:pt x="11" y="328"/>
                        <a:pt x="17" y="335"/>
                        <a:pt x="17" y="335"/>
                      </a:cubicBezTo>
                      <a:cubicBezTo>
                        <a:pt x="17" y="335"/>
                        <a:pt x="17" y="335"/>
                        <a:pt x="17" y="335"/>
                      </a:cubicBezTo>
                      <a:cubicBezTo>
                        <a:pt x="32" y="351"/>
                        <a:pt x="32" y="351"/>
                        <a:pt x="32" y="351"/>
                      </a:cubicBezTo>
                      <a:cubicBezTo>
                        <a:pt x="32" y="351"/>
                        <a:pt x="32" y="351"/>
                        <a:pt x="32" y="351"/>
                      </a:cubicBezTo>
                      <a:cubicBezTo>
                        <a:pt x="32" y="351"/>
                        <a:pt x="47" y="337"/>
                        <a:pt x="45" y="329"/>
                      </a:cubicBezTo>
                      <a:cubicBezTo>
                        <a:pt x="47" y="313"/>
                        <a:pt x="59" y="332"/>
                        <a:pt x="69" y="326"/>
                      </a:cubicBezTo>
                      <a:cubicBezTo>
                        <a:pt x="69" y="326"/>
                        <a:pt x="86" y="326"/>
                        <a:pt x="93" y="318"/>
                      </a:cubicBezTo>
                      <a:cubicBezTo>
                        <a:pt x="93" y="318"/>
                        <a:pt x="99" y="309"/>
                        <a:pt x="108" y="311"/>
                      </a:cubicBezTo>
                      <a:cubicBezTo>
                        <a:pt x="108" y="311"/>
                        <a:pt x="119" y="308"/>
                        <a:pt x="127" y="316"/>
                      </a:cubicBezTo>
                      <a:cubicBezTo>
                        <a:pt x="137" y="306"/>
                        <a:pt x="131" y="329"/>
                        <a:pt x="137" y="330"/>
                      </a:cubicBezTo>
                      <a:cubicBezTo>
                        <a:pt x="142" y="330"/>
                        <a:pt x="146" y="326"/>
                        <a:pt x="146" y="326"/>
                      </a:cubicBezTo>
                      <a:cubicBezTo>
                        <a:pt x="153" y="309"/>
                        <a:pt x="158" y="318"/>
                        <a:pt x="158" y="318"/>
                      </a:cubicBezTo>
                      <a:cubicBezTo>
                        <a:pt x="166" y="320"/>
                        <a:pt x="176" y="306"/>
                        <a:pt x="176" y="306"/>
                      </a:cubicBezTo>
                      <a:cubicBezTo>
                        <a:pt x="193" y="295"/>
                        <a:pt x="195" y="285"/>
                        <a:pt x="195" y="285"/>
                      </a:cubicBezTo>
                      <a:cubicBezTo>
                        <a:pt x="205" y="270"/>
                        <a:pt x="216" y="272"/>
                        <a:pt x="216" y="272"/>
                      </a:cubicBezTo>
                      <a:cubicBezTo>
                        <a:pt x="226" y="273"/>
                        <a:pt x="230" y="266"/>
                        <a:pt x="230" y="266"/>
                      </a:cubicBezTo>
                      <a:cubicBezTo>
                        <a:pt x="238" y="257"/>
                        <a:pt x="241" y="271"/>
                        <a:pt x="251" y="268"/>
                      </a:cubicBezTo>
                      <a:cubicBezTo>
                        <a:pt x="258" y="267"/>
                        <a:pt x="253" y="260"/>
                        <a:pt x="253" y="260"/>
                      </a:cubicBezTo>
                      <a:cubicBezTo>
                        <a:pt x="245" y="249"/>
                        <a:pt x="256" y="245"/>
                        <a:pt x="256" y="245"/>
                      </a:cubicBezTo>
                      <a:cubicBezTo>
                        <a:pt x="262" y="233"/>
                        <a:pt x="256" y="227"/>
                        <a:pt x="256" y="227"/>
                      </a:cubicBezTo>
                      <a:cubicBezTo>
                        <a:pt x="252" y="219"/>
                        <a:pt x="260" y="218"/>
                        <a:pt x="256" y="207"/>
                      </a:cubicBezTo>
                      <a:cubicBezTo>
                        <a:pt x="258" y="193"/>
                        <a:pt x="249" y="183"/>
                        <a:pt x="259" y="181"/>
                      </a:cubicBezTo>
                      <a:cubicBezTo>
                        <a:pt x="268" y="179"/>
                        <a:pt x="272" y="168"/>
                        <a:pt x="272" y="168"/>
                      </a:cubicBezTo>
                      <a:cubicBezTo>
                        <a:pt x="272" y="168"/>
                        <a:pt x="272" y="168"/>
                        <a:pt x="272" y="168"/>
                      </a:cubicBezTo>
                      <a:cubicBezTo>
                        <a:pt x="280" y="151"/>
                        <a:pt x="280" y="151"/>
                        <a:pt x="280" y="151"/>
                      </a:cubicBezTo>
                      <a:cubicBezTo>
                        <a:pt x="280" y="151"/>
                        <a:pt x="280" y="151"/>
                        <a:pt x="280" y="151"/>
                      </a:cubicBezTo>
                      <a:cubicBezTo>
                        <a:pt x="289" y="151"/>
                        <a:pt x="286" y="132"/>
                        <a:pt x="286" y="132"/>
                      </a:cubicBezTo>
                      <a:cubicBezTo>
                        <a:pt x="298" y="125"/>
                        <a:pt x="290" y="122"/>
                        <a:pt x="290" y="122"/>
                      </a:cubicBezTo>
                      <a:cubicBezTo>
                        <a:pt x="285" y="111"/>
                        <a:pt x="292" y="107"/>
                        <a:pt x="292" y="107"/>
                      </a:cubicBezTo>
                      <a:cubicBezTo>
                        <a:pt x="293" y="114"/>
                        <a:pt x="292" y="116"/>
                        <a:pt x="302" y="119"/>
                      </a:cubicBezTo>
                      <a:cubicBezTo>
                        <a:pt x="299" y="108"/>
                        <a:pt x="306" y="101"/>
                        <a:pt x="306" y="101"/>
                      </a:cubicBezTo>
                      <a:cubicBezTo>
                        <a:pt x="311" y="93"/>
                        <a:pt x="317" y="98"/>
                        <a:pt x="317" y="98"/>
                      </a:cubicBezTo>
                      <a:cubicBezTo>
                        <a:pt x="314" y="91"/>
                        <a:pt x="322" y="85"/>
                        <a:pt x="322" y="85"/>
                      </a:cubicBezTo>
                      <a:cubicBezTo>
                        <a:pt x="323" y="69"/>
                        <a:pt x="292" y="68"/>
                        <a:pt x="292" y="76"/>
                      </a:cubicBezTo>
                      <a:cubicBezTo>
                        <a:pt x="266" y="79"/>
                        <a:pt x="270" y="70"/>
                        <a:pt x="270" y="70"/>
                      </a:cubicBezTo>
                      <a:cubicBezTo>
                        <a:pt x="278" y="63"/>
                        <a:pt x="266" y="63"/>
                        <a:pt x="266" y="63"/>
                      </a:cubicBezTo>
                      <a:cubicBezTo>
                        <a:pt x="259" y="59"/>
                        <a:pt x="263" y="52"/>
                        <a:pt x="263" y="52"/>
                      </a:cubicBezTo>
                      <a:cubicBezTo>
                        <a:pt x="265" y="45"/>
                        <a:pt x="253" y="45"/>
                        <a:pt x="253" y="45"/>
                      </a:cubicBezTo>
                      <a:cubicBezTo>
                        <a:pt x="253" y="45"/>
                        <a:pt x="253" y="45"/>
                        <a:pt x="253" y="45"/>
                      </a:cubicBezTo>
                      <a:cubicBezTo>
                        <a:pt x="234" y="46"/>
                        <a:pt x="234" y="46"/>
                        <a:pt x="234" y="46"/>
                      </a:cubicBezTo>
                      <a:cubicBezTo>
                        <a:pt x="234" y="46"/>
                        <a:pt x="234" y="46"/>
                        <a:pt x="234" y="46"/>
                      </a:cubicBezTo>
                      <a:cubicBezTo>
                        <a:pt x="220" y="44"/>
                        <a:pt x="216" y="31"/>
                        <a:pt x="191" y="32"/>
                      </a:cubicBezTo>
                      <a:cubicBezTo>
                        <a:pt x="179" y="33"/>
                        <a:pt x="181" y="28"/>
                        <a:pt x="181" y="28"/>
                      </a:cubicBezTo>
                      <a:cubicBezTo>
                        <a:pt x="179" y="20"/>
                        <a:pt x="162" y="21"/>
                        <a:pt x="162" y="21"/>
                      </a:cubicBezTo>
                      <a:cubicBezTo>
                        <a:pt x="148" y="24"/>
                        <a:pt x="148" y="17"/>
                        <a:pt x="148" y="17"/>
                      </a:cubicBezTo>
                      <a:cubicBezTo>
                        <a:pt x="145" y="7"/>
                        <a:pt x="128" y="10"/>
                        <a:pt x="128" y="10"/>
                      </a:cubicBezTo>
                      <a:cubicBezTo>
                        <a:pt x="111" y="10"/>
                        <a:pt x="113" y="0"/>
                        <a:pt x="105" y="5"/>
                      </a:cubicBezTo>
                      <a:cubicBezTo>
                        <a:pt x="95" y="6"/>
                        <a:pt x="87" y="4"/>
                        <a:pt x="80" y="4"/>
                      </a:cubicBezTo>
                      <a:cubicBezTo>
                        <a:pt x="80" y="4"/>
                        <a:pt x="80" y="4"/>
                        <a:pt x="80" y="4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3" name="Freeform 53"/>
                <p:cNvSpPr>
                  <a:spLocks/>
                </p:cNvSpPr>
                <p:nvPr/>
              </p:nvSpPr>
              <p:spPr bwMode="auto">
                <a:xfrm>
                  <a:off x="1718901" y="2966623"/>
                  <a:ext cx="596156" cy="973938"/>
                </a:xfrm>
                <a:custGeom>
                  <a:avLst/>
                  <a:gdLst/>
                  <a:ahLst/>
                  <a:cxnLst>
                    <a:cxn ang="0">
                      <a:pos x="138" y="12"/>
                    </a:cxn>
                    <a:cxn ang="0">
                      <a:pos x="142" y="32"/>
                    </a:cxn>
                    <a:cxn ang="0">
                      <a:pos x="146" y="45"/>
                    </a:cxn>
                    <a:cxn ang="0">
                      <a:pos x="161" y="63"/>
                    </a:cxn>
                    <a:cxn ang="0">
                      <a:pos x="178" y="68"/>
                    </a:cxn>
                    <a:cxn ang="0">
                      <a:pos x="182" y="91"/>
                    </a:cxn>
                    <a:cxn ang="0">
                      <a:pos x="178" y="111"/>
                    </a:cxn>
                    <a:cxn ang="0">
                      <a:pos x="171" y="128"/>
                    </a:cxn>
                    <a:cxn ang="0">
                      <a:pos x="183" y="149"/>
                    </a:cxn>
                    <a:cxn ang="0">
                      <a:pos x="204" y="155"/>
                    </a:cxn>
                    <a:cxn ang="0">
                      <a:pos x="199" y="166"/>
                    </a:cxn>
                    <a:cxn ang="0">
                      <a:pos x="199" y="179"/>
                    </a:cxn>
                    <a:cxn ang="0">
                      <a:pos x="195" y="191"/>
                    </a:cxn>
                    <a:cxn ang="0">
                      <a:pos x="196" y="217"/>
                    </a:cxn>
                    <a:cxn ang="0">
                      <a:pos x="203" y="251"/>
                    </a:cxn>
                    <a:cxn ang="0">
                      <a:pos x="182" y="268"/>
                    </a:cxn>
                    <a:cxn ang="0">
                      <a:pos x="153" y="274"/>
                    </a:cxn>
                    <a:cxn ang="0">
                      <a:pos x="142" y="302"/>
                    </a:cxn>
                    <a:cxn ang="0">
                      <a:pos x="140" y="358"/>
                    </a:cxn>
                    <a:cxn ang="0">
                      <a:pos x="125" y="360"/>
                    </a:cxn>
                    <a:cxn ang="0">
                      <a:pos x="98" y="368"/>
                    </a:cxn>
                    <a:cxn ang="0">
                      <a:pos x="83" y="367"/>
                    </a:cxn>
                    <a:cxn ang="0">
                      <a:pos x="70" y="361"/>
                    </a:cxn>
                    <a:cxn ang="0">
                      <a:pos x="48" y="366"/>
                    </a:cxn>
                    <a:cxn ang="0">
                      <a:pos x="48" y="381"/>
                    </a:cxn>
                    <a:cxn ang="0">
                      <a:pos x="32" y="369"/>
                    </a:cxn>
                    <a:cxn ang="0">
                      <a:pos x="32" y="369"/>
                    </a:cxn>
                    <a:cxn ang="0">
                      <a:pos x="15" y="369"/>
                    </a:cxn>
                    <a:cxn ang="0">
                      <a:pos x="15" y="369"/>
                    </a:cxn>
                    <a:cxn ang="0">
                      <a:pos x="10" y="352"/>
                    </a:cxn>
                    <a:cxn ang="0">
                      <a:pos x="4" y="315"/>
                    </a:cxn>
                    <a:cxn ang="0">
                      <a:pos x="4" y="272"/>
                    </a:cxn>
                    <a:cxn ang="0">
                      <a:pos x="8" y="237"/>
                    </a:cxn>
                    <a:cxn ang="0">
                      <a:pos x="6" y="202"/>
                    </a:cxn>
                    <a:cxn ang="0">
                      <a:pos x="7" y="183"/>
                    </a:cxn>
                    <a:cxn ang="0">
                      <a:pos x="13" y="160"/>
                    </a:cxn>
                    <a:cxn ang="0">
                      <a:pos x="14" y="149"/>
                    </a:cxn>
                    <a:cxn ang="0">
                      <a:pos x="13" y="138"/>
                    </a:cxn>
                    <a:cxn ang="0">
                      <a:pos x="17" y="104"/>
                    </a:cxn>
                    <a:cxn ang="0">
                      <a:pos x="24" y="73"/>
                    </a:cxn>
                    <a:cxn ang="0">
                      <a:pos x="32" y="69"/>
                    </a:cxn>
                    <a:cxn ang="0">
                      <a:pos x="44" y="61"/>
                    </a:cxn>
                    <a:cxn ang="0">
                      <a:pos x="62" y="49"/>
                    </a:cxn>
                    <a:cxn ang="0">
                      <a:pos x="81" y="28"/>
                    </a:cxn>
                    <a:cxn ang="0">
                      <a:pos x="102" y="15"/>
                    </a:cxn>
                    <a:cxn ang="0">
                      <a:pos x="116" y="9"/>
                    </a:cxn>
                    <a:cxn ang="0">
                      <a:pos x="138" y="12"/>
                    </a:cxn>
                    <a:cxn ang="0">
                      <a:pos x="138" y="12"/>
                    </a:cxn>
                  </a:cxnLst>
                  <a:rect l="0" t="0" r="r" b="b"/>
                  <a:pathLst>
                    <a:path w="211" h="390">
                      <a:moveTo>
                        <a:pt x="138" y="12"/>
                      </a:moveTo>
                      <a:cubicBezTo>
                        <a:pt x="138" y="21"/>
                        <a:pt x="149" y="19"/>
                        <a:pt x="142" y="32"/>
                      </a:cubicBezTo>
                      <a:cubicBezTo>
                        <a:pt x="142" y="32"/>
                        <a:pt x="134" y="38"/>
                        <a:pt x="146" y="45"/>
                      </a:cubicBezTo>
                      <a:cubicBezTo>
                        <a:pt x="156" y="55"/>
                        <a:pt x="156" y="63"/>
                        <a:pt x="161" y="63"/>
                      </a:cubicBezTo>
                      <a:cubicBezTo>
                        <a:pt x="161" y="63"/>
                        <a:pt x="171" y="78"/>
                        <a:pt x="178" y="68"/>
                      </a:cubicBezTo>
                      <a:cubicBezTo>
                        <a:pt x="178" y="68"/>
                        <a:pt x="182" y="72"/>
                        <a:pt x="182" y="91"/>
                      </a:cubicBezTo>
                      <a:cubicBezTo>
                        <a:pt x="175" y="102"/>
                        <a:pt x="190" y="105"/>
                        <a:pt x="178" y="111"/>
                      </a:cubicBezTo>
                      <a:cubicBezTo>
                        <a:pt x="178" y="111"/>
                        <a:pt x="168" y="110"/>
                        <a:pt x="171" y="128"/>
                      </a:cubicBezTo>
                      <a:cubicBezTo>
                        <a:pt x="171" y="128"/>
                        <a:pt x="171" y="138"/>
                        <a:pt x="183" y="149"/>
                      </a:cubicBezTo>
                      <a:cubicBezTo>
                        <a:pt x="183" y="149"/>
                        <a:pt x="199" y="149"/>
                        <a:pt x="204" y="155"/>
                      </a:cubicBezTo>
                      <a:cubicBezTo>
                        <a:pt x="211" y="162"/>
                        <a:pt x="199" y="166"/>
                        <a:pt x="199" y="166"/>
                      </a:cubicBezTo>
                      <a:cubicBezTo>
                        <a:pt x="188" y="169"/>
                        <a:pt x="199" y="179"/>
                        <a:pt x="199" y="179"/>
                      </a:cubicBezTo>
                      <a:cubicBezTo>
                        <a:pt x="201" y="186"/>
                        <a:pt x="195" y="191"/>
                        <a:pt x="195" y="191"/>
                      </a:cubicBezTo>
                      <a:cubicBezTo>
                        <a:pt x="182" y="204"/>
                        <a:pt x="196" y="217"/>
                        <a:pt x="196" y="217"/>
                      </a:cubicBezTo>
                      <a:cubicBezTo>
                        <a:pt x="205" y="230"/>
                        <a:pt x="203" y="251"/>
                        <a:pt x="203" y="251"/>
                      </a:cubicBezTo>
                      <a:cubicBezTo>
                        <a:pt x="210" y="282"/>
                        <a:pt x="182" y="268"/>
                        <a:pt x="182" y="268"/>
                      </a:cubicBezTo>
                      <a:cubicBezTo>
                        <a:pt x="176" y="259"/>
                        <a:pt x="153" y="267"/>
                        <a:pt x="153" y="274"/>
                      </a:cubicBezTo>
                      <a:cubicBezTo>
                        <a:pt x="156" y="279"/>
                        <a:pt x="141" y="285"/>
                        <a:pt x="142" y="302"/>
                      </a:cubicBezTo>
                      <a:cubicBezTo>
                        <a:pt x="149" y="343"/>
                        <a:pt x="140" y="358"/>
                        <a:pt x="140" y="358"/>
                      </a:cubicBezTo>
                      <a:cubicBezTo>
                        <a:pt x="134" y="364"/>
                        <a:pt x="125" y="360"/>
                        <a:pt x="125" y="360"/>
                      </a:cubicBezTo>
                      <a:cubicBezTo>
                        <a:pt x="112" y="370"/>
                        <a:pt x="98" y="368"/>
                        <a:pt x="98" y="368"/>
                      </a:cubicBezTo>
                      <a:cubicBezTo>
                        <a:pt x="93" y="361"/>
                        <a:pt x="83" y="367"/>
                        <a:pt x="83" y="367"/>
                      </a:cubicBezTo>
                      <a:cubicBezTo>
                        <a:pt x="73" y="375"/>
                        <a:pt x="70" y="361"/>
                        <a:pt x="70" y="361"/>
                      </a:cubicBezTo>
                      <a:cubicBezTo>
                        <a:pt x="57" y="361"/>
                        <a:pt x="48" y="366"/>
                        <a:pt x="48" y="366"/>
                      </a:cubicBezTo>
                      <a:cubicBezTo>
                        <a:pt x="56" y="374"/>
                        <a:pt x="48" y="381"/>
                        <a:pt x="48" y="381"/>
                      </a:cubicBezTo>
                      <a:cubicBezTo>
                        <a:pt x="36" y="390"/>
                        <a:pt x="32" y="369"/>
                        <a:pt x="32" y="369"/>
                      </a:cubicBezTo>
                      <a:cubicBezTo>
                        <a:pt x="32" y="369"/>
                        <a:pt x="32" y="369"/>
                        <a:pt x="32" y="369"/>
                      </a:cubicBezTo>
                      <a:cubicBezTo>
                        <a:pt x="15" y="369"/>
                        <a:pt x="15" y="369"/>
                        <a:pt x="15" y="369"/>
                      </a:cubicBezTo>
                      <a:cubicBezTo>
                        <a:pt x="15" y="369"/>
                        <a:pt x="15" y="369"/>
                        <a:pt x="15" y="369"/>
                      </a:cubicBezTo>
                      <a:cubicBezTo>
                        <a:pt x="17" y="358"/>
                        <a:pt x="10" y="352"/>
                        <a:pt x="10" y="352"/>
                      </a:cubicBezTo>
                      <a:cubicBezTo>
                        <a:pt x="1" y="343"/>
                        <a:pt x="4" y="315"/>
                        <a:pt x="4" y="315"/>
                      </a:cubicBezTo>
                      <a:cubicBezTo>
                        <a:pt x="0" y="298"/>
                        <a:pt x="4" y="272"/>
                        <a:pt x="4" y="272"/>
                      </a:cubicBezTo>
                      <a:cubicBezTo>
                        <a:pt x="10" y="265"/>
                        <a:pt x="1" y="250"/>
                        <a:pt x="8" y="237"/>
                      </a:cubicBezTo>
                      <a:cubicBezTo>
                        <a:pt x="14" y="219"/>
                        <a:pt x="6" y="202"/>
                        <a:pt x="6" y="202"/>
                      </a:cubicBezTo>
                      <a:cubicBezTo>
                        <a:pt x="1" y="188"/>
                        <a:pt x="7" y="183"/>
                        <a:pt x="7" y="183"/>
                      </a:cubicBezTo>
                      <a:cubicBezTo>
                        <a:pt x="7" y="183"/>
                        <a:pt x="13" y="177"/>
                        <a:pt x="13" y="160"/>
                      </a:cubicBezTo>
                      <a:cubicBezTo>
                        <a:pt x="10" y="158"/>
                        <a:pt x="14" y="149"/>
                        <a:pt x="14" y="149"/>
                      </a:cubicBezTo>
                      <a:cubicBezTo>
                        <a:pt x="19" y="142"/>
                        <a:pt x="13" y="138"/>
                        <a:pt x="13" y="138"/>
                      </a:cubicBezTo>
                      <a:cubicBezTo>
                        <a:pt x="3" y="114"/>
                        <a:pt x="17" y="104"/>
                        <a:pt x="17" y="104"/>
                      </a:cubicBezTo>
                      <a:cubicBezTo>
                        <a:pt x="17" y="81"/>
                        <a:pt x="25" y="91"/>
                        <a:pt x="24" y="73"/>
                      </a:cubicBezTo>
                      <a:cubicBezTo>
                        <a:pt x="29" y="73"/>
                        <a:pt x="32" y="69"/>
                        <a:pt x="32" y="69"/>
                      </a:cubicBezTo>
                      <a:cubicBezTo>
                        <a:pt x="39" y="52"/>
                        <a:pt x="44" y="61"/>
                        <a:pt x="44" y="61"/>
                      </a:cubicBezTo>
                      <a:cubicBezTo>
                        <a:pt x="52" y="63"/>
                        <a:pt x="62" y="49"/>
                        <a:pt x="62" y="49"/>
                      </a:cubicBezTo>
                      <a:cubicBezTo>
                        <a:pt x="79" y="38"/>
                        <a:pt x="81" y="28"/>
                        <a:pt x="81" y="28"/>
                      </a:cubicBezTo>
                      <a:cubicBezTo>
                        <a:pt x="91" y="13"/>
                        <a:pt x="102" y="15"/>
                        <a:pt x="102" y="15"/>
                      </a:cubicBezTo>
                      <a:cubicBezTo>
                        <a:pt x="112" y="16"/>
                        <a:pt x="116" y="9"/>
                        <a:pt x="116" y="9"/>
                      </a:cubicBezTo>
                      <a:cubicBezTo>
                        <a:pt x="124" y="0"/>
                        <a:pt x="129" y="14"/>
                        <a:pt x="138" y="12"/>
                      </a:cubicBezTo>
                      <a:cubicBezTo>
                        <a:pt x="138" y="12"/>
                        <a:pt x="138" y="12"/>
                        <a:pt x="138" y="12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4" name="Freeform 52"/>
                <p:cNvSpPr>
                  <a:spLocks/>
                </p:cNvSpPr>
                <p:nvPr/>
              </p:nvSpPr>
              <p:spPr bwMode="auto">
                <a:xfrm>
                  <a:off x="1242521" y="3798361"/>
                  <a:ext cx="922817" cy="414528"/>
                </a:xfrm>
                <a:custGeom>
                  <a:avLst/>
                  <a:gdLst/>
                  <a:ahLst/>
                  <a:cxnLst>
                    <a:cxn ang="0">
                      <a:pos x="307" y="25"/>
                    </a:cxn>
                    <a:cxn ang="0">
                      <a:pos x="319" y="40"/>
                    </a:cxn>
                    <a:cxn ang="0">
                      <a:pos x="313" y="62"/>
                    </a:cxn>
                    <a:cxn ang="0">
                      <a:pos x="295" y="60"/>
                    </a:cxn>
                    <a:cxn ang="0">
                      <a:pos x="277" y="64"/>
                    </a:cxn>
                    <a:cxn ang="0">
                      <a:pos x="251" y="65"/>
                    </a:cxn>
                    <a:cxn ang="0">
                      <a:pos x="236" y="69"/>
                    </a:cxn>
                    <a:cxn ang="0">
                      <a:pos x="227" y="76"/>
                    </a:cxn>
                    <a:cxn ang="0">
                      <a:pos x="216" y="85"/>
                    </a:cxn>
                    <a:cxn ang="0">
                      <a:pos x="209" y="87"/>
                    </a:cxn>
                    <a:cxn ang="0">
                      <a:pos x="179" y="94"/>
                    </a:cxn>
                    <a:cxn ang="0">
                      <a:pos x="170" y="113"/>
                    </a:cxn>
                    <a:cxn ang="0">
                      <a:pos x="131" y="130"/>
                    </a:cxn>
                    <a:cxn ang="0">
                      <a:pos x="131" y="130"/>
                    </a:cxn>
                    <a:cxn ang="0">
                      <a:pos x="76" y="134"/>
                    </a:cxn>
                    <a:cxn ang="0">
                      <a:pos x="76" y="134"/>
                    </a:cxn>
                    <a:cxn ang="0">
                      <a:pos x="35" y="150"/>
                    </a:cxn>
                    <a:cxn ang="0">
                      <a:pos x="0" y="166"/>
                    </a:cxn>
                    <a:cxn ang="0">
                      <a:pos x="5" y="137"/>
                    </a:cxn>
                    <a:cxn ang="0">
                      <a:pos x="13" y="99"/>
                    </a:cxn>
                    <a:cxn ang="0">
                      <a:pos x="34" y="80"/>
                    </a:cxn>
                    <a:cxn ang="0">
                      <a:pos x="41" y="75"/>
                    </a:cxn>
                    <a:cxn ang="0">
                      <a:pos x="77" y="52"/>
                    </a:cxn>
                    <a:cxn ang="0">
                      <a:pos x="93" y="40"/>
                    </a:cxn>
                    <a:cxn ang="0">
                      <a:pos x="93" y="24"/>
                    </a:cxn>
                    <a:cxn ang="0">
                      <a:pos x="98" y="3"/>
                    </a:cxn>
                    <a:cxn ang="0">
                      <a:pos x="107" y="8"/>
                    </a:cxn>
                    <a:cxn ang="0">
                      <a:pos x="117" y="10"/>
                    </a:cxn>
                    <a:cxn ang="0">
                      <a:pos x="129" y="18"/>
                    </a:cxn>
                    <a:cxn ang="0">
                      <a:pos x="137" y="20"/>
                    </a:cxn>
                    <a:cxn ang="0">
                      <a:pos x="154" y="25"/>
                    </a:cxn>
                    <a:cxn ang="0">
                      <a:pos x="168" y="34"/>
                    </a:cxn>
                    <a:cxn ang="0">
                      <a:pos x="183" y="36"/>
                    </a:cxn>
                    <a:cxn ang="0">
                      <a:pos x="183" y="36"/>
                    </a:cxn>
                    <a:cxn ang="0">
                      <a:pos x="200" y="36"/>
                    </a:cxn>
                    <a:cxn ang="0">
                      <a:pos x="200" y="36"/>
                    </a:cxn>
                    <a:cxn ang="0">
                      <a:pos x="216" y="48"/>
                    </a:cxn>
                    <a:cxn ang="0">
                      <a:pos x="216" y="33"/>
                    </a:cxn>
                    <a:cxn ang="0">
                      <a:pos x="238" y="28"/>
                    </a:cxn>
                    <a:cxn ang="0">
                      <a:pos x="251" y="34"/>
                    </a:cxn>
                    <a:cxn ang="0">
                      <a:pos x="266" y="35"/>
                    </a:cxn>
                    <a:cxn ang="0">
                      <a:pos x="293" y="27"/>
                    </a:cxn>
                    <a:cxn ang="0">
                      <a:pos x="307" y="25"/>
                    </a:cxn>
                    <a:cxn ang="0">
                      <a:pos x="307" y="25"/>
                    </a:cxn>
                  </a:cxnLst>
                  <a:rect l="0" t="0" r="r" b="b"/>
                  <a:pathLst>
                    <a:path w="326" h="166">
                      <a:moveTo>
                        <a:pt x="307" y="25"/>
                      </a:moveTo>
                      <a:cubicBezTo>
                        <a:pt x="307" y="25"/>
                        <a:pt x="321" y="19"/>
                        <a:pt x="319" y="40"/>
                      </a:cubicBezTo>
                      <a:cubicBezTo>
                        <a:pt x="319" y="40"/>
                        <a:pt x="326" y="48"/>
                        <a:pt x="313" y="62"/>
                      </a:cubicBezTo>
                      <a:cubicBezTo>
                        <a:pt x="313" y="62"/>
                        <a:pt x="310" y="51"/>
                        <a:pt x="295" y="60"/>
                      </a:cubicBezTo>
                      <a:cubicBezTo>
                        <a:pt x="295" y="60"/>
                        <a:pt x="289" y="74"/>
                        <a:pt x="277" y="64"/>
                      </a:cubicBezTo>
                      <a:cubicBezTo>
                        <a:pt x="266" y="54"/>
                        <a:pt x="255" y="73"/>
                        <a:pt x="251" y="65"/>
                      </a:cubicBezTo>
                      <a:cubicBezTo>
                        <a:pt x="251" y="65"/>
                        <a:pt x="236" y="56"/>
                        <a:pt x="236" y="69"/>
                      </a:cubicBezTo>
                      <a:cubicBezTo>
                        <a:pt x="236" y="69"/>
                        <a:pt x="233" y="80"/>
                        <a:pt x="227" y="76"/>
                      </a:cubicBezTo>
                      <a:cubicBezTo>
                        <a:pt x="227" y="76"/>
                        <a:pt x="225" y="64"/>
                        <a:pt x="216" y="85"/>
                      </a:cubicBezTo>
                      <a:cubicBezTo>
                        <a:pt x="216" y="85"/>
                        <a:pt x="217" y="81"/>
                        <a:pt x="209" y="87"/>
                      </a:cubicBezTo>
                      <a:cubicBezTo>
                        <a:pt x="209" y="87"/>
                        <a:pt x="194" y="87"/>
                        <a:pt x="179" y="94"/>
                      </a:cubicBezTo>
                      <a:cubicBezTo>
                        <a:pt x="179" y="94"/>
                        <a:pt x="178" y="102"/>
                        <a:pt x="170" y="113"/>
                      </a:cubicBezTo>
                      <a:cubicBezTo>
                        <a:pt x="157" y="133"/>
                        <a:pt x="156" y="128"/>
                        <a:pt x="131" y="130"/>
                      </a:cubicBezTo>
                      <a:cubicBezTo>
                        <a:pt x="131" y="130"/>
                        <a:pt x="131" y="130"/>
                        <a:pt x="131" y="130"/>
                      </a:cubicBezTo>
                      <a:cubicBezTo>
                        <a:pt x="76" y="134"/>
                        <a:pt x="76" y="134"/>
                        <a:pt x="76" y="134"/>
                      </a:cubicBezTo>
                      <a:cubicBezTo>
                        <a:pt x="76" y="134"/>
                        <a:pt x="76" y="134"/>
                        <a:pt x="76" y="134"/>
                      </a:cubicBezTo>
                      <a:cubicBezTo>
                        <a:pt x="76" y="134"/>
                        <a:pt x="46" y="124"/>
                        <a:pt x="35" y="150"/>
                      </a:cubicBezTo>
                      <a:cubicBezTo>
                        <a:pt x="35" y="150"/>
                        <a:pt x="27" y="164"/>
                        <a:pt x="0" y="166"/>
                      </a:cubicBezTo>
                      <a:cubicBezTo>
                        <a:pt x="14" y="146"/>
                        <a:pt x="5" y="137"/>
                        <a:pt x="5" y="137"/>
                      </a:cubicBezTo>
                      <a:cubicBezTo>
                        <a:pt x="0" y="117"/>
                        <a:pt x="13" y="99"/>
                        <a:pt x="13" y="99"/>
                      </a:cubicBezTo>
                      <a:cubicBezTo>
                        <a:pt x="29" y="95"/>
                        <a:pt x="34" y="80"/>
                        <a:pt x="34" y="80"/>
                      </a:cubicBezTo>
                      <a:cubicBezTo>
                        <a:pt x="38" y="82"/>
                        <a:pt x="41" y="75"/>
                        <a:pt x="41" y="75"/>
                      </a:cubicBezTo>
                      <a:cubicBezTo>
                        <a:pt x="60" y="48"/>
                        <a:pt x="77" y="52"/>
                        <a:pt x="77" y="52"/>
                      </a:cubicBezTo>
                      <a:cubicBezTo>
                        <a:pt x="95" y="55"/>
                        <a:pt x="93" y="40"/>
                        <a:pt x="93" y="40"/>
                      </a:cubicBezTo>
                      <a:cubicBezTo>
                        <a:pt x="97" y="29"/>
                        <a:pt x="93" y="24"/>
                        <a:pt x="93" y="24"/>
                      </a:cubicBezTo>
                      <a:cubicBezTo>
                        <a:pt x="86" y="7"/>
                        <a:pt x="98" y="3"/>
                        <a:pt x="98" y="3"/>
                      </a:cubicBezTo>
                      <a:cubicBezTo>
                        <a:pt x="98" y="3"/>
                        <a:pt x="107" y="2"/>
                        <a:pt x="107" y="8"/>
                      </a:cubicBezTo>
                      <a:cubicBezTo>
                        <a:pt x="107" y="8"/>
                        <a:pt x="110" y="18"/>
                        <a:pt x="117" y="10"/>
                      </a:cubicBezTo>
                      <a:cubicBezTo>
                        <a:pt x="117" y="10"/>
                        <a:pt x="125" y="0"/>
                        <a:pt x="129" y="18"/>
                      </a:cubicBezTo>
                      <a:cubicBezTo>
                        <a:pt x="129" y="18"/>
                        <a:pt x="123" y="35"/>
                        <a:pt x="137" y="20"/>
                      </a:cubicBezTo>
                      <a:cubicBezTo>
                        <a:pt x="137" y="20"/>
                        <a:pt x="151" y="7"/>
                        <a:pt x="154" y="25"/>
                      </a:cubicBezTo>
                      <a:cubicBezTo>
                        <a:pt x="154" y="25"/>
                        <a:pt x="158" y="36"/>
                        <a:pt x="168" y="34"/>
                      </a:cubicBezTo>
                      <a:cubicBezTo>
                        <a:pt x="168" y="34"/>
                        <a:pt x="177" y="32"/>
                        <a:pt x="183" y="36"/>
                      </a:cubicBezTo>
                      <a:cubicBezTo>
                        <a:pt x="183" y="36"/>
                        <a:pt x="183" y="36"/>
                        <a:pt x="183" y="36"/>
                      </a:cubicBezTo>
                      <a:cubicBezTo>
                        <a:pt x="200" y="36"/>
                        <a:pt x="200" y="36"/>
                        <a:pt x="200" y="36"/>
                      </a:cubicBezTo>
                      <a:cubicBezTo>
                        <a:pt x="200" y="36"/>
                        <a:pt x="200" y="36"/>
                        <a:pt x="200" y="36"/>
                      </a:cubicBezTo>
                      <a:cubicBezTo>
                        <a:pt x="200" y="36"/>
                        <a:pt x="204" y="57"/>
                        <a:pt x="216" y="48"/>
                      </a:cubicBezTo>
                      <a:cubicBezTo>
                        <a:pt x="216" y="48"/>
                        <a:pt x="224" y="41"/>
                        <a:pt x="216" y="33"/>
                      </a:cubicBezTo>
                      <a:cubicBezTo>
                        <a:pt x="216" y="33"/>
                        <a:pt x="225" y="28"/>
                        <a:pt x="238" y="28"/>
                      </a:cubicBezTo>
                      <a:cubicBezTo>
                        <a:pt x="238" y="28"/>
                        <a:pt x="241" y="42"/>
                        <a:pt x="251" y="34"/>
                      </a:cubicBezTo>
                      <a:cubicBezTo>
                        <a:pt x="251" y="34"/>
                        <a:pt x="261" y="28"/>
                        <a:pt x="266" y="35"/>
                      </a:cubicBezTo>
                      <a:cubicBezTo>
                        <a:pt x="266" y="35"/>
                        <a:pt x="280" y="37"/>
                        <a:pt x="293" y="27"/>
                      </a:cubicBezTo>
                      <a:cubicBezTo>
                        <a:pt x="293" y="27"/>
                        <a:pt x="302" y="32"/>
                        <a:pt x="307" y="25"/>
                      </a:cubicBezTo>
                      <a:cubicBezTo>
                        <a:pt x="307" y="25"/>
                        <a:pt x="307" y="25"/>
                        <a:pt x="307" y="25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5" name="Freeform 112"/>
                <p:cNvSpPr>
                  <a:spLocks/>
                </p:cNvSpPr>
                <p:nvPr/>
              </p:nvSpPr>
              <p:spPr bwMode="auto">
                <a:xfrm>
                  <a:off x="2114977" y="3304684"/>
                  <a:ext cx="906484" cy="853202"/>
                </a:xfrm>
                <a:custGeom>
                  <a:avLst/>
                  <a:gdLst/>
                  <a:ahLst/>
                  <a:cxnLst>
                    <a:cxn ang="0">
                      <a:pos x="288" y="311"/>
                    </a:cxn>
                    <a:cxn ang="0">
                      <a:pos x="274" y="322"/>
                    </a:cxn>
                    <a:cxn ang="0">
                      <a:pos x="253" y="330"/>
                    </a:cxn>
                    <a:cxn ang="0">
                      <a:pos x="235" y="329"/>
                    </a:cxn>
                    <a:cxn ang="0">
                      <a:pos x="207" y="323"/>
                    </a:cxn>
                    <a:cxn ang="0">
                      <a:pos x="196" y="325"/>
                    </a:cxn>
                    <a:cxn ang="0">
                      <a:pos x="180" y="342"/>
                    </a:cxn>
                    <a:cxn ang="0">
                      <a:pos x="157" y="315"/>
                    </a:cxn>
                    <a:cxn ang="0">
                      <a:pos x="130" y="318"/>
                    </a:cxn>
                    <a:cxn ang="0">
                      <a:pos x="123" y="322"/>
                    </a:cxn>
                    <a:cxn ang="0">
                      <a:pos x="124" y="312"/>
                    </a:cxn>
                    <a:cxn ang="0">
                      <a:pos x="111" y="315"/>
                    </a:cxn>
                    <a:cxn ang="0">
                      <a:pos x="118" y="304"/>
                    </a:cxn>
                    <a:cxn ang="0">
                      <a:pos x="111" y="296"/>
                    </a:cxn>
                    <a:cxn ang="0">
                      <a:pos x="100" y="297"/>
                    </a:cxn>
                    <a:cxn ang="0">
                      <a:pos x="84" y="294"/>
                    </a:cxn>
                    <a:cxn ang="0">
                      <a:pos x="76" y="280"/>
                    </a:cxn>
                    <a:cxn ang="0">
                      <a:pos x="52" y="261"/>
                    </a:cxn>
                    <a:cxn ang="0">
                      <a:pos x="31" y="256"/>
                    </a:cxn>
                    <a:cxn ang="0">
                      <a:pos x="5" y="260"/>
                    </a:cxn>
                    <a:cxn ang="0">
                      <a:pos x="11" y="238"/>
                    </a:cxn>
                    <a:cxn ang="0">
                      <a:pos x="0" y="223"/>
                    </a:cxn>
                    <a:cxn ang="0">
                      <a:pos x="2" y="167"/>
                    </a:cxn>
                    <a:cxn ang="0">
                      <a:pos x="13" y="139"/>
                    </a:cxn>
                    <a:cxn ang="0">
                      <a:pos x="42" y="133"/>
                    </a:cxn>
                    <a:cxn ang="0">
                      <a:pos x="63" y="116"/>
                    </a:cxn>
                    <a:cxn ang="0">
                      <a:pos x="56" y="82"/>
                    </a:cxn>
                    <a:cxn ang="0">
                      <a:pos x="55" y="56"/>
                    </a:cxn>
                    <a:cxn ang="0">
                      <a:pos x="59" y="44"/>
                    </a:cxn>
                    <a:cxn ang="0">
                      <a:pos x="59" y="31"/>
                    </a:cxn>
                    <a:cxn ang="0">
                      <a:pos x="64" y="20"/>
                    </a:cxn>
                    <a:cxn ang="0">
                      <a:pos x="101" y="21"/>
                    </a:cxn>
                    <a:cxn ang="0">
                      <a:pos x="129" y="20"/>
                    </a:cxn>
                    <a:cxn ang="0">
                      <a:pos x="146" y="18"/>
                    </a:cxn>
                    <a:cxn ang="0">
                      <a:pos x="168" y="17"/>
                    </a:cxn>
                    <a:cxn ang="0">
                      <a:pos x="179" y="7"/>
                    </a:cxn>
                    <a:cxn ang="0">
                      <a:pos x="196" y="22"/>
                    </a:cxn>
                    <a:cxn ang="0">
                      <a:pos x="196" y="39"/>
                    </a:cxn>
                    <a:cxn ang="0">
                      <a:pos x="200" y="58"/>
                    </a:cxn>
                    <a:cxn ang="0">
                      <a:pos x="229" y="56"/>
                    </a:cxn>
                    <a:cxn ang="0">
                      <a:pos x="253" y="46"/>
                    </a:cxn>
                    <a:cxn ang="0">
                      <a:pos x="259" y="66"/>
                    </a:cxn>
                    <a:cxn ang="0">
                      <a:pos x="261" y="95"/>
                    </a:cxn>
                    <a:cxn ang="0">
                      <a:pos x="258" y="109"/>
                    </a:cxn>
                    <a:cxn ang="0">
                      <a:pos x="278" y="127"/>
                    </a:cxn>
                    <a:cxn ang="0">
                      <a:pos x="273" y="153"/>
                    </a:cxn>
                    <a:cxn ang="0">
                      <a:pos x="274" y="164"/>
                    </a:cxn>
                    <a:cxn ang="0">
                      <a:pos x="279" y="181"/>
                    </a:cxn>
                    <a:cxn ang="0">
                      <a:pos x="281" y="193"/>
                    </a:cxn>
                    <a:cxn ang="0">
                      <a:pos x="291" y="205"/>
                    </a:cxn>
                    <a:cxn ang="0">
                      <a:pos x="302" y="226"/>
                    </a:cxn>
                    <a:cxn ang="0">
                      <a:pos x="309" y="241"/>
                    </a:cxn>
                    <a:cxn ang="0">
                      <a:pos x="314" y="258"/>
                    </a:cxn>
                    <a:cxn ang="0">
                      <a:pos x="317" y="270"/>
                    </a:cxn>
                    <a:cxn ang="0">
                      <a:pos x="299" y="273"/>
                    </a:cxn>
                    <a:cxn ang="0">
                      <a:pos x="286" y="283"/>
                    </a:cxn>
                    <a:cxn ang="0">
                      <a:pos x="288" y="311"/>
                    </a:cxn>
                    <a:cxn ang="0">
                      <a:pos x="288" y="311"/>
                    </a:cxn>
                  </a:cxnLst>
                  <a:rect l="0" t="0" r="r" b="b"/>
                  <a:pathLst>
                    <a:path w="320" h="342">
                      <a:moveTo>
                        <a:pt x="288" y="311"/>
                      </a:moveTo>
                      <a:cubicBezTo>
                        <a:pt x="288" y="311"/>
                        <a:pt x="272" y="311"/>
                        <a:pt x="274" y="322"/>
                      </a:cubicBezTo>
                      <a:cubicBezTo>
                        <a:pt x="274" y="322"/>
                        <a:pt x="274" y="333"/>
                        <a:pt x="253" y="330"/>
                      </a:cubicBezTo>
                      <a:cubicBezTo>
                        <a:pt x="253" y="330"/>
                        <a:pt x="246" y="319"/>
                        <a:pt x="235" y="329"/>
                      </a:cubicBezTo>
                      <a:cubicBezTo>
                        <a:pt x="235" y="329"/>
                        <a:pt x="217" y="333"/>
                        <a:pt x="207" y="323"/>
                      </a:cubicBezTo>
                      <a:cubicBezTo>
                        <a:pt x="207" y="323"/>
                        <a:pt x="199" y="306"/>
                        <a:pt x="196" y="325"/>
                      </a:cubicBezTo>
                      <a:cubicBezTo>
                        <a:pt x="196" y="325"/>
                        <a:pt x="192" y="339"/>
                        <a:pt x="180" y="342"/>
                      </a:cubicBezTo>
                      <a:cubicBezTo>
                        <a:pt x="170" y="339"/>
                        <a:pt x="176" y="314"/>
                        <a:pt x="157" y="315"/>
                      </a:cubicBezTo>
                      <a:cubicBezTo>
                        <a:pt x="157" y="315"/>
                        <a:pt x="137" y="306"/>
                        <a:pt x="130" y="318"/>
                      </a:cubicBezTo>
                      <a:cubicBezTo>
                        <a:pt x="130" y="318"/>
                        <a:pt x="133" y="330"/>
                        <a:pt x="123" y="322"/>
                      </a:cubicBezTo>
                      <a:cubicBezTo>
                        <a:pt x="123" y="322"/>
                        <a:pt x="127" y="315"/>
                        <a:pt x="124" y="312"/>
                      </a:cubicBezTo>
                      <a:cubicBezTo>
                        <a:pt x="124" y="312"/>
                        <a:pt x="118" y="310"/>
                        <a:pt x="111" y="315"/>
                      </a:cubicBezTo>
                      <a:cubicBezTo>
                        <a:pt x="111" y="315"/>
                        <a:pt x="117" y="311"/>
                        <a:pt x="118" y="304"/>
                      </a:cubicBezTo>
                      <a:cubicBezTo>
                        <a:pt x="118" y="304"/>
                        <a:pt x="121" y="292"/>
                        <a:pt x="111" y="296"/>
                      </a:cubicBezTo>
                      <a:cubicBezTo>
                        <a:pt x="111" y="296"/>
                        <a:pt x="103" y="293"/>
                        <a:pt x="100" y="297"/>
                      </a:cubicBezTo>
                      <a:cubicBezTo>
                        <a:pt x="100" y="297"/>
                        <a:pt x="94" y="286"/>
                        <a:pt x="84" y="294"/>
                      </a:cubicBezTo>
                      <a:cubicBezTo>
                        <a:pt x="84" y="294"/>
                        <a:pt x="86" y="278"/>
                        <a:pt x="76" y="280"/>
                      </a:cubicBezTo>
                      <a:cubicBezTo>
                        <a:pt x="60" y="280"/>
                        <a:pt x="59" y="262"/>
                        <a:pt x="52" y="261"/>
                      </a:cubicBezTo>
                      <a:cubicBezTo>
                        <a:pt x="52" y="261"/>
                        <a:pt x="48" y="250"/>
                        <a:pt x="31" y="256"/>
                      </a:cubicBezTo>
                      <a:cubicBezTo>
                        <a:pt x="24" y="249"/>
                        <a:pt x="30" y="263"/>
                        <a:pt x="5" y="260"/>
                      </a:cubicBezTo>
                      <a:cubicBezTo>
                        <a:pt x="18" y="246"/>
                        <a:pt x="11" y="238"/>
                        <a:pt x="11" y="238"/>
                      </a:cubicBezTo>
                      <a:cubicBezTo>
                        <a:pt x="13" y="217"/>
                        <a:pt x="0" y="223"/>
                        <a:pt x="0" y="223"/>
                      </a:cubicBezTo>
                      <a:cubicBezTo>
                        <a:pt x="0" y="223"/>
                        <a:pt x="9" y="208"/>
                        <a:pt x="2" y="167"/>
                      </a:cubicBezTo>
                      <a:cubicBezTo>
                        <a:pt x="1" y="150"/>
                        <a:pt x="16" y="144"/>
                        <a:pt x="13" y="139"/>
                      </a:cubicBezTo>
                      <a:cubicBezTo>
                        <a:pt x="13" y="132"/>
                        <a:pt x="36" y="124"/>
                        <a:pt x="42" y="133"/>
                      </a:cubicBezTo>
                      <a:cubicBezTo>
                        <a:pt x="42" y="133"/>
                        <a:pt x="70" y="147"/>
                        <a:pt x="63" y="116"/>
                      </a:cubicBezTo>
                      <a:cubicBezTo>
                        <a:pt x="63" y="116"/>
                        <a:pt x="65" y="95"/>
                        <a:pt x="56" y="82"/>
                      </a:cubicBezTo>
                      <a:cubicBezTo>
                        <a:pt x="56" y="82"/>
                        <a:pt x="42" y="69"/>
                        <a:pt x="55" y="56"/>
                      </a:cubicBezTo>
                      <a:cubicBezTo>
                        <a:pt x="55" y="56"/>
                        <a:pt x="61" y="51"/>
                        <a:pt x="59" y="44"/>
                      </a:cubicBezTo>
                      <a:cubicBezTo>
                        <a:pt x="59" y="44"/>
                        <a:pt x="48" y="34"/>
                        <a:pt x="59" y="31"/>
                      </a:cubicBezTo>
                      <a:cubicBezTo>
                        <a:pt x="59" y="31"/>
                        <a:pt x="71" y="27"/>
                        <a:pt x="64" y="20"/>
                      </a:cubicBezTo>
                      <a:cubicBezTo>
                        <a:pt x="82" y="15"/>
                        <a:pt x="90" y="27"/>
                        <a:pt x="101" y="21"/>
                      </a:cubicBezTo>
                      <a:cubicBezTo>
                        <a:pt x="122" y="14"/>
                        <a:pt x="126" y="27"/>
                        <a:pt x="129" y="20"/>
                      </a:cubicBezTo>
                      <a:cubicBezTo>
                        <a:pt x="134" y="11"/>
                        <a:pt x="146" y="18"/>
                        <a:pt x="146" y="18"/>
                      </a:cubicBezTo>
                      <a:cubicBezTo>
                        <a:pt x="146" y="18"/>
                        <a:pt x="157" y="22"/>
                        <a:pt x="168" y="17"/>
                      </a:cubicBezTo>
                      <a:cubicBezTo>
                        <a:pt x="167" y="6"/>
                        <a:pt x="172" y="7"/>
                        <a:pt x="179" y="7"/>
                      </a:cubicBezTo>
                      <a:cubicBezTo>
                        <a:pt x="199" y="0"/>
                        <a:pt x="188" y="21"/>
                        <a:pt x="196" y="22"/>
                      </a:cubicBezTo>
                      <a:cubicBezTo>
                        <a:pt x="196" y="22"/>
                        <a:pt x="202" y="34"/>
                        <a:pt x="196" y="39"/>
                      </a:cubicBezTo>
                      <a:cubicBezTo>
                        <a:pt x="196" y="39"/>
                        <a:pt x="189" y="51"/>
                        <a:pt x="200" y="58"/>
                      </a:cubicBezTo>
                      <a:cubicBezTo>
                        <a:pt x="200" y="58"/>
                        <a:pt x="225" y="62"/>
                        <a:pt x="229" y="56"/>
                      </a:cubicBezTo>
                      <a:cubicBezTo>
                        <a:pt x="234" y="46"/>
                        <a:pt x="244" y="54"/>
                        <a:pt x="253" y="46"/>
                      </a:cubicBezTo>
                      <a:cubicBezTo>
                        <a:pt x="263" y="46"/>
                        <a:pt x="254" y="62"/>
                        <a:pt x="259" y="66"/>
                      </a:cubicBezTo>
                      <a:cubicBezTo>
                        <a:pt x="259" y="66"/>
                        <a:pt x="268" y="80"/>
                        <a:pt x="261" y="95"/>
                      </a:cubicBezTo>
                      <a:cubicBezTo>
                        <a:pt x="261" y="95"/>
                        <a:pt x="252" y="98"/>
                        <a:pt x="258" y="109"/>
                      </a:cubicBezTo>
                      <a:cubicBezTo>
                        <a:pt x="258" y="109"/>
                        <a:pt x="269" y="109"/>
                        <a:pt x="278" y="127"/>
                      </a:cubicBezTo>
                      <a:cubicBezTo>
                        <a:pt x="278" y="127"/>
                        <a:pt x="284" y="139"/>
                        <a:pt x="273" y="153"/>
                      </a:cubicBezTo>
                      <a:cubicBezTo>
                        <a:pt x="269" y="151"/>
                        <a:pt x="258" y="164"/>
                        <a:pt x="274" y="164"/>
                      </a:cubicBezTo>
                      <a:cubicBezTo>
                        <a:pt x="274" y="164"/>
                        <a:pt x="268" y="179"/>
                        <a:pt x="279" y="181"/>
                      </a:cubicBezTo>
                      <a:cubicBezTo>
                        <a:pt x="279" y="181"/>
                        <a:pt x="275" y="192"/>
                        <a:pt x="281" y="193"/>
                      </a:cubicBezTo>
                      <a:cubicBezTo>
                        <a:pt x="289" y="190"/>
                        <a:pt x="279" y="203"/>
                        <a:pt x="291" y="205"/>
                      </a:cubicBezTo>
                      <a:cubicBezTo>
                        <a:pt x="303" y="214"/>
                        <a:pt x="293" y="223"/>
                        <a:pt x="302" y="226"/>
                      </a:cubicBezTo>
                      <a:cubicBezTo>
                        <a:pt x="316" y="225"/>
                        <a:pt x="304" y="240"/>
                        <a:pt x="309" y="241"/>
                      </a:cubicBezTo>
                      <a:cubicBezTo>
                        <a:pt x="309" y="241"/>
                        <a:pt x="320" y="243"/>
                        <a:pt x="314" y="258"/>
                      </a:cubicBezTo>
                      <a:cubicBezTo>
                        <a:pt x="314" y="258"/>
                        <a:pt x="301" y="265"/>
                        <a:pt x="317" y="270"/>
                      </a:cubicBezTo>
                      <a:cubicBezTo>
                        <a:pt x="317" y="270"/>
                        <a:pt x="307" y="286"/>
                        <a:pt x="299" y="273"/>
                      </a:cubicBezTo>
                      <a:cubicBezTo>
                        <a:pt x="299" y="273"/>
                        <a:pt x="292" y="267"/>
                        <a:pt x="286" y="283"/>
                      </a:cubicBezTo>
                      <a:cubicBezTo>
                        <a:pt x="286" y="283"/>
                        <a:pt x="276" y="298"/>
                        <a:pt x="288" y="311"/>
                      </a:cubicBezTo>
                      <a:cubicBezTo>
                        <a:pt x="288" y="311"/>
                        <a:pt x="288" y="311"/>
                        <a:pt x="288" y="311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6" name="Freeform 50"/>
                <p:cNvSpPr>
                  <a:spLocks/>
                </p:cNvSpPr>
                <p:nvPr/>
              </p:nvSpPr>
              <p:spPr bwMode="auto">
                <a:xfrm>
                  <a:off x="2089117" y="2490387"/>
                  <a:ext cx="843874" cy="968572"/>
                </a:xfrm>
                <a:custGeom>
                  <a:avLst/>
                  <a:gdLst/>
                  <a:ahLst/>
                  <a:cxnLst>
                    <a:cxn ang="0">
                      <a:pos x="85" y="18"/>
                    </a:cxn>
                    <a:cxn ang="0">
                      <a:pos x="125" y="13"/>
                    </a:cxn>
                    <a:cxn ang="0">
                      <a:pos x="143" y="19"/>
                    </a:cxn>
                    <a:cxn ang="0">
                      <a:pos x="169" y="21"/>
                    </a:cxn>
                    <a:cxn ang="0">
                      <a:pos x="191" y="50"/>
                    </a:cxn>
                    <a:cxn ang="0">
                      <a:pos x="236" y="14"/>
                    </a:cxn>
                    <a:cxn ang="0">
                      <a:pos x="257" y="59"/>
                    </a:cxn>
                    <a:cxn ang="0">
                      <a:pos x="246" y="86"/>
                    </a:cxn>
                    <a:cxn ang="0">
                      <a:pos x="247" y="106"/>
                    </a:cxn>
                    <a:cxn ang="0">
                      <a:pos x="260" y="139"/>
                    </a:cxn>
                    <a:cxn ang="0">
                      <a:pos x="272" y="193"/>
                    </a:cxn>
                    <a:cxn ang="0">
                      <a:pos x="271" y="237"/>
                    </a:cxn>
                    <a:cxn ang="0">
                      <a:pos x="290" y="278"/>
                    </a:cxn>
                    <a:cxn ang="0">
                      <a:pos x="293" y="318"/>
                    </a:cxn>
                    <a:cxn ang="0">
                      <a:pos x="260" y="346"/>
                    </a:cxn>
                    <a:cxn ang="0">
                      <a:pos x="263" y="372"/>
                    </a:cxn>
                    <a:cxn ang="0">
                      <a:pos x="209" y="385"/>
                    </a:cxn>
                    <a:cxn ang="0">
                      <a:pos x="205" y="348"/>
                    </a:cxn>
                    <a:cxn ang="0">
                      <a:pos x="177" y="343"/>
                    </a:cxn>
                    <a:cxn ang="0">
                      <a:pos x="138" y="346"/>
                    </a:cxn>
                    <a:cxn ang="0">
                      <a:pos x="73" y="346"/>
                    </a:cxn>
                    <a:cxn ang="0">
                      <a:pos x="40" y="319"/>
                    </a:cxn>
                    <a:cxn ang="0">
                      <a:pos x="51" y="282"/>
                    </a:cxn>
                    <a:cxn ang="0">
                      <a:pos x="30" y="254"/>
                    </a:cxn>
                    <a:cxn ang="0">
                      <a:pos x="11" y="223"/>
                    </a:cxn>
                    <a:cxn ang="0">
                      <a:pos x="8" y="194"/>
                    </a:cxn>
                    <a:cxn ang="0">
                      <a:pos x="11" y="161"/>
                    </a:cxn>
                    <a:cxn ang="0">
                      <a:pos x="14" y="115"/>
                    </a:cxn>
                    <a:cxn ang="0">
                      <a:pos x="27" y="102"/>
                    </a:cxn>
                    <a:cxn ang="0">
                      <a:pos x="35" y="85"/>
                    </a:cxn>
                    <a:cxn ang="0">
                      <a:pos x="45" y="56"/>
                    </a:cxn>
                    <a:cxn ang="0">
                      <a:pos x="57" y="53"/>
                    </a:cxn>
                    <a:cxn ang="0">
                      <a:pos x="72" y="32"/>
                    </a:cxn>
                  </a:cxnLst>
                  <a:rect l="0" t="0" r="r" b="b"/>
                  <a:pathLst>
                    <a:path w="298" h="388">
                      <a:moveTo>
                        <a:pt x="72" y="32"/>
                      </a:moveTo>
                      <a:cubicBezTo>
                        <a:pt x="72" y="32"/>
                        <a:pt x="85" y="40"/>
                        <a:pt x="85" y="18"/>
                      </a:cubicBezTo>
                      <a:cubicBezTo>
                        <a:pt x="85" y="18"/>
                        <a:pt x="88" y="0"/>
                        <a:pt x="99" y="14"/>
                      </a:cubicBezTo>
                      <a:cubicBezTo>
                        <a:pt x="99" y="14"/>
                        <a:pt x="110" y="27"/>
                        <a:pt x="125" y="13"/>
                      </a:cubicBezTo>
                      <a:cubicBezTo>
                        <a:pt x="125" y="13"/>
                        <a:pt x="124" y="7"/>
                        <a:pt x="137" y="1"/>
                      </a:cubicBezTo>
                      <a:cubicBezTo>
                        <a:pt x="142" y="5"/>
                        <a:pt x="135" y="16"/>
                        <a:pt x="143" y="19"/>
                      </a:cubicBezTo>
                      <a:cubicBezTo>
                        <a:pt x="143" y="19"/>
                        <a:pt x="143" y="29"/>
                        <a:pt x="153" y="23"/>
                      </a:cubicBezTo>
                      <a:cubicBezTo>
                        <a:pt x="153" y="23"/>
                        <a:pt x="157" y="14"/>
                        <a:pt x="169" y="21"/>
                      </a:cubicBezTo>
                      <a:cubicBezTo>
                        <a:pt x="169" y="21"/>
                        <a:pt x="178" y="20"/>
                        <a:pt x="177" y="31"/>
                      </a:cubicBezTo>
                      <a:cubicBezTo>
                        <a:pt x="177" y="31"/>
                        <a:pt x="173" y="43"/>
                        <a:pt x="191" y="50"/>
                      </a:cubicBezTo>
                      <a:cubicBezTo>
                        <a:pt x="191" y="50"/>
                        <a:pt x="191" y="21"/>
                        <a:pt x="216" y="21"/>
                      </a:cubicBezTo>
                      <a:cubicBezTo>
                        <a:pt x="216" y="21"/>
                        <a:pt x="229" y="4"/>
                        <a:pt x="236" y="14"/>
                      </a:cubicBezTo>
                      <a:cubicBezTo>
                        <a:pt x="236" y="14"/>
                        <a:pt x="246" y="24"/>
                        <a:pt x="246" y="36"/>
                      </a:cubicBezTo>
                      <a:cubicBezTo>
                        <a:pt x="246" y="36"/>
                        <a:pt x="247" y="56"/>
                        <a:pt x="257" y="59"/>
                      </a:cubicBezTo>
                      <a:cubicBezTo>
                        <a:pt x="257" y="59"/>
                        <a:pt x="270" y="80"/>
                        <a:pt x="246" y="86"/>
                      </a:cubicBezTo>
                      <a:cubicBezTo>
                        <a:pt x="246" y="86"/>
                        <a:pt x="246" y="86"/>
                        <a:pt x="246" y="86"/>
                      </a:cubicBezTo>
                      <a:cubicBezTo>
                        <a:pt x="247" y="106"/>
                        <a:pt x="247" y="106"/>
                        <a:pt x="247" y="106"/>
                      </a:cubicBezTo>
                      <a:cubicBezTo>
                        <a:pt x="247" y="106"/>
                        <a:pt x="247" y="106"/>
                        <a:pt x="247" y="106"/>
                      </a:cubicBezTo>
                      <a:cubicBezTo>
                        <a:pt x="247" y="106"/>
                        <a:pt x="260" y="100"/>
                        <a:pt x="268" y="119"/>
                      </a:cubicBezTo>
                      <a:cubicBezTo>
                        <a:pt x="267" y="134"/>
                        <a:pt x="257" y="135"/>
                        <a:pt x="260" y="139"/>
                      </a:cubicBezTo>
                      <a:cubicBezTo>
                        <a:pt x="260" y="139"/>
                        <a:pt x="273" y="147"/>
                        <a:pt x="271" y="170"/>
                      </a:cubicBezTo>
                      <a:cubicBezTo>
                        <a:pt x="271" y="170"/>
                        <a:pt x="284" y="175"/>
                        <a:pt x="272" y="193"/>
                      </a:cubicBezTo>
                      <a:cubicBezTo>
                        <a:pt x="272" y="193"/>
                        <a:pt x="265" y="197"/>
                        <a:pt x="268" y="218"/>
                      </a:cubicBezTo>
                      <a:cubicBezTo>
                        <a:pt x="267" y="230"/>
                        <a:pt x="256" y="231"/>
                        <a:pt x="271" y="237"/>
                      </a:cubicBezTo>
                      <a:cubicBezTo>
                        <a:pt x="271" y="237"/>
                        <a:pt x="280" y="237"/>
                        <a:pt x="280" y="254"/>
                      </a:cubicBezTo>
                      <a:cubicBezTo>
                        <a:pt x="280" y="254"/>
                        <a:pt x="292" y="257"/>
                        <a:pt x="290" y="278"/>
                      </a:cubicBezTo>
                      <a:cubicBezTo>
                        <a:pt x="290" y="278"/>
                        <a:pt x="298" y="287"/>
                        <a:pt x="288" y="294"/>
                      </a:cubicBezTo>
                      <a:cubicBezTo>
                        <a:pt x="288" y="294"/>
                        <a:pt x="283" y="311"/>
                        <a:pt x="293" y="318"/>
                      </a:cubicBezTo>
                      <a:cubicBezTo>
                        <a:pt x="293" y="318"/>
                        <a:pt x="298" y="324"/>
                        <a:pt x="278" y="337"/>
                      </a:cubicBezTo>
                      <a:cubicBezTo>
                        <a:pt x="278" y="337"/>
                        <a:pt x="271" y="345"/>
                        <a:pt x="260" y="346"/>
                      </a:cubicBezTo>
                      <a:cubicBezTo>
                        <a:pt x="260" y="346"/>
                        <a:pt x="257" y="352"/>
                        <a:pt x="260" y="360"/>
                      </a:cubicBezTo>
                      <a:cubicBezTo>
                        <a:pt x="260" y="360"/>
                        <a:pt x="266" y="365"/>
                        <a:pt x="263" y="372"/>
                      </a:cubicBezTo>
                      <a:cubicBezTo>
                        <a:pt x="255" y="380"/>
                        <a:pt x="243" y="372"/>
                        <a:pt x="238" y="382"/>
                      </a:cubicBezTo>
                      <a:cubicBezTo>
                        <a:pt x="234" y="388"/>
                        <a:pt x="209" y="385"/>
                        <a:pt x="209" y="385"/>
                      </a:cubicBezTo>
                      <a:cubicBezTo>
                        <a:pt x="198" y="377"/>
                        <a:pt x="205" y="365"/>
                        <a:pt x="205" y="365"/>
                      </a:cubicBezTo>
                      <a:cubicBezTo>
                        <a:pt x="211" y="360"/>
                        <a:pt x="205" y="348"/>
                        <a:pt x="205" y="348"/>
                      </a:cubicBezTo>
                      <a:cubicBezTo>
                        <a:pt x="197" y="347"/>
                        <a:pt x="208" y="326"/>
                        <a:pt x="188" y="333"/>
                      </a:cubicBezTo>
                      <a:cubicBezTo>
                        <a:pt x="181" y="333"/>
                        <a:pt x="176" y="332"/>
                        <a:pt x="177" y="343"/>
                      </a:cubicBezTo>
                      <a:cubicBezTo>
                        <a:pt x="166" y="348"/>
                        <a:pt x="155" y="344"/>
                        <a:pt x="155" y="344"/>
                      </a:cubicBezTo>
                      <a:cubicBezTo>
                        <a:pt x="155" y="344"/>
                        <a:pt x="143" y="337"/>
                        <a:pt x="138" y="346"/>
                      </a:cubicBezTo>
                      <a:cubicBezTo>
                        <a:pt x="135" y="353"/>
                        <a:pt x="131" y="340"/>
                        <a:pt x="110" y="347"/>
                      </a:cubicBezTo>
                      <a:cubicBezTo>
                        <a:pt x="99" y="353"/>
                        <a:pt x="91" y="341"/>
                        <a:pt x="73" y="346"/>
                      </a:cubicBezTo>
                      <a:cubicBezTo>
                        <a:pt x="68" y="340"/>
                        <a:pt x="52" y="340"/>
                        <a:pt x="52" y="340"/>
                      </a:cubicBezTo>
                      <a:cubicBezTo>
                        <a:pt x="40" y="329"/>
                        <a:pt x="40" y="319"/>
                        <a:pt x="40" y="319"/>
                      </a:cubicBezTo>
                      <a:cubicBezTo>
                        <a:pt x="37" y="301"/>
                        <a:pt x="47" y="302"/>
                        <a:pt x="47" y="302"/>
                      </a:cubicBezTo>
                      <a:cubicBezTo>
                        <a:pt x="59" y="296"/>
                        <a:pt x="44" y="293"/>
                        <a:pt x="51" y="282"/>
                      </a:cubicBezTo>
                      <a:cubicBezTo>
                        <a:pt x="51" y="263"/>
                        <a:pt x="47" y="259"/>
                        <a:pt x="47" y="259"/>
                      </a:cubicBezTo>
                      <a:cubicBezTo>
                        <a:pt x="40" y="269"/>
                        <a:pt x="30" y="254"/>
                        <a:pt x="30" y="254"/>
                      </a:cubicBezTo>
                      <a:cubicBezTo>
                        <a:pt x="25" y="254"/>
                        <a:pt x="25" y="246"/>
                        <a:pt x="15" y="236"/>
                      </a:cubicBezTo>
                      <a:cubicBezTo>
                        <a:pt x="3" y="229"/>
                        <a:pt x="11" y="223"/>
                        <a:pt x="11" y="223"/>
                      </a:cubicBezTo>
                      <a:cubicBezTo>
                        <a:pt x="18" y="210"/>
                        <a:pt x="7" y="212"/>
                        <a:pt x="7" y="202"/>
                      </a:cubicBezTo>
                      <a:cubicBezTo>
                        <a:pt x="14" y="202"/>
                        <a:pt x="8" y="194"/>
                        <a:pt x="8" y="194"/>
                      </a:cubicBezTo>
                      <a:cubicBezTo>
                        <a:pt x="0" y="183"/>
                        <a:pt x="11" y="179"/>
                        <a:pt x="11" y="179"/>
                      </a:cubicBezTo>
                      <a:cubicBezTo>
                        <a:pt x="17" y="167"/>
                        <a:pt x="11" y="161"/>
                        <a:pt x="11" y="161"/>
                      </a:cubicBezTo>
                      <a:cubicBezTo>
                        <a:pt x="7" y="153"/>
                        <a:pt x="15" y="152"/>
                        <a:pt x="11" y="141"/>
                      </a:cubicBezTo>
                      <a:cubicBezTo>
                        <a:pt x="13" y="127"/>
                        <a:pt x="4" y="117"/>
                        <a:pt x="14" y="115"/>
                      </a:cubicBezTo>
                      <a:cubicBezTo>
                        <a:pt x="23" y="113"/>
                        <a:pt x="27" y="102"/>
                        <a:pt x="27" y="102"/>
                      </a:cubicBezTo>
                      <a:cubicBezTo>
                        <a:pt x="27" y="102"/>
                        <a:pt x="27" y="102"/>
                        <a:pt x="27" y="102"/>
                      </a:cubicBezTo>
                      <a:cubicBezTo>
                        <a:pt x="35" y="85"/>
                        <a:pt x="35" y="85"/>
                        <a:pt x="35" y="85"/>
                      </a:cubicBezTo>
                      <a:cubicBezTo>
                        <a:pt x="35" y="85"/>
                        <a:pt x="35" y="85"/>
                        <a:pt x="35" y="85"/>
                      </a:cubicBezTo>
                      <a:cubicBezTo>
                        <a:pt x="44" y="85"/>
                        <a:pt x="41" y="66"/>
                        <a:pt x="41" y="66"/>
                      </a:cubicBezTo>
                      <a:cubicBezTo>
                        <a:pt x="53" y="59"/>
                        <a:pt x="45" y="56"/>
                        <a:pt x="45" y="56"/>
                      </a:cubicBezTo>
                      <a:cubicBezTo>
                        <a:pt x="40" y="45"/>
                        <a:pt x="47" y="41"/>
                        <a:pt x="47" y="41"/>
                      </a:cubicBezTo>
                      <a:cubicBezTo>
                        <a:pt x="48" y="48"/>
                        <a:pt x="47" y="50"/>
                        <a:pt x="57" y="53"/>
                      </a:cubicBezTo>
                      <a:cubicBezTo>
                        <a:pt x="54" y="42"/>
                        <a:pt x="61" y="35"/>
                        <a:pt x="61" y="35"/>
                      </a:cubicBezTo>
                      <a:cubicBezTo>
                        <a:pt x="66" y="27"/>
                        <a:pt x="72" y="32"/>
                        <a:pt x="72" y="32"/>
                      </a:cubicBezTo>
                      <a:cubicBezTo>
                        <a:pt x="72" y="32"/>
                        <a:pt x="72" y="32"/>
                        <a:pt x="72" y="32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7" name="Freeform 49"/>
                <p:cNvSpPr>
                  <a:spLocks/>
                </p:cNvSpPr>
                <p:nvPr/>
              </p:nvSpPr>
              <p:spPr bwMode="auto">
                <a:xfrm>
                  <a:off x="2785993" y="2556120"/>
                  <a:ext cx="924177" cy="1085284"/>
                </a:xfrm>
                <a:custGeom>
                  <a:avLst/>
                  <a:gdLst/>
                  <a:ahLst/>
                  <a:cxnLst>
                    <a:cxn ang="0">
                      <a:pos x="14" y="333"/>
                    </a:cxn>
                    <a:cxn ang="0">
                      <a:pos x="32" y="310"/>
                    </a:cxn>
                    <a:cxn ang="0">
                      <a:pos x="42" y="267"/>
                    </a:cxn>
                    <a:cxn ang="0">
                      <a:pos x="34" y="227"/>
                    </a:cxn>
                    <a:cxn ang="0">
                      <a:pos x="22" y="191"/>
                    </a:cxn>
                    <a:cxn ang="0">
                      <a:pos x="25" y="143"/>
                    </a:cxn>
                    <a:cxn ang="0">
                      <a:pos x="22" y="92"/>
                    </a:cxn>
                    <a:cxn ang="0">
                      <a:pos x="1" y="79"/>
                    </a:cxn>
                    <a:cxn ang="0">
                      <a:pos x="0" y="59"/>
                    </a:cxn>
                    <a:cxn ang="0">
                      <a:pos x="39" y="18"/>
                    </a:cxn>
                    <a:cxn ang="0">
                      <a:pos x="72" y="18"/>
                    </a:cxn>
                    <a:cxn ang="0">
                      <a:pos x="115" y="21"/>
                    </a:cxn>
                    <a:cxn ang="0">
                      <a:pos x="146" y="53"/>
                    </a:cxn>
                    <a:cxn ang="0">
                      <a:pos x="145" y="83"/>
                    </a:cxn>
                    <a:cxn ang="0">
                      <a:pos x="144" y="104"/>
                    </a:cxn>
                    <a:cxn ang="0">
                      <a:pos x="164" y="127"/>
                    </a:cxn>
                    <a:cxn ang="0">
                      <a:pos x="190" y="148"/>
                    </a:cxn>
                    <a:cxn ang="0">
                      <a:pos x="217" y="171"/>
                    </a:cxn>
                    <a:cxn ang="0">
                      <a:pos x="270" y="189"/>
                    </a:cxn>
                    <a:cxn ang="0">
                      <a:pos x="300" y="180"/>
                    </a:cxn>
                    <a:cxn ang="0">
                      <a:pos x="314" y="210"/>
                    </a:cxn>
                    <a:cxn ang="0">
                      <a:pos x="322" y="240"/>
                    </a:cxn>
                    <a:cxn ang="0">
                      <a:pos x="294" y="269"/>
                    </a:cxn>
                    <a:cxn ang="0">
                      <a:pos x="272" y="311"/>
                    </a:cxn>
                    <a:cxn ang="0">
                      <a:pos x="230" y="309"/>
                    </a:cxn>
                    <a:cxn ang="0">
                      <a:pos x="209" y="357"/>
                    </a:cxn>
                    <a:cxn ang="0">
                      <a:pos x="190" y="392"/>
                    </a:cxn>
                    <a:cxn ang="0">
                      <a:pos x="135" y="406"/>
                    </a:cxn>
                    <a:cxn ang="0">
                      <a:pos x="120" y="422"/>
                    </a:cxn>
                    <a:cxn ang="0">
                      <a:pos x="89" y="416"/>
                    </a:cxn>
                    <a:cxn ang="0">
                      <a:pos x="52" y="432"/>
                    </a:cxn>
                    <a:cxn ang="0">
                      <a:pos x="21" y="408"/>
                    </a:cxn>
                    <a:cxn ang="0">
                      <a:pos x="22" y="365"/>
                    </a:cxn>
                    <a:cxn ang="0">
                      <a:pos x="17" y="346"/>
                    </a:cxn>
                  </a:cxnLst>
                  <a:rect l="0" t="0" r="r" b="b"/>
                  <a:pathLst>
                    <a:path w="327" h="434">
                      <a:moveTo>
                        <a:pt x="17" y="346"/>
                      </a:moveTo>
                      <a:cubicBezTo>
                        <a:pt x="20" y="339"/>
                        <a:pt x="14" y="333"/>
                        <a:pt x="14" y="333"/>
                      </a:cubicBezTo>
                      <a:cubicBezTo>
                        <a:pt x="11" y="325"/>
                        <a:pt x="14" y="319"/>
                        <a:pt x="14" y="319"/>
                      </a:cubicBezTo>
                      <a:cubicBezTo>
                        <a:pt x="25" y="318"/>
                        <a:pt x="32" y="310"/>
                        <a:pt x="32" y="310"/>
                      </a:cubicBezTo>
                      <a:cubicBezTo>
                        <a:pt x="52" y="297"/>
                        <a:pt x="47" y="291"/>
                        <a:pt x="47" y="291"/>
                      </a:cubicBezTo>
                      <a:cubicBezTo>
                        <a:pt x="37" y="284"/>
                        <a:pt x="42" y="267"/>
                        <a:pt x="42" y="267"/>
                      </a:cubicBezTo>
                      <a:cubicBezTo>
                        <a:pt x="52" y="260"/>
                        <a:pt x="44" y="251"/>
                        <a:pt x="44" y="251"/>
                      </a:cubicBezTo>
                      <a:cubicBezTo>
                        <a:pt x="46" y="230"/>
                        <a:pt x="34" y="227"/>
                        <a:pt x="34" y="227"/>
                      </a:cubicBezTo>
                      <a:cubicBezTo>
                        <a:pt x="34" y="210"/>
                        <a:pt x="25" y="210"/>
                        <a:pt x="25" y="210"/>
                      </a:cubicBezTo>
                      <a:cubicBezTo>
                        <a:pt x="10" y="204"/>
                        <a:pt x="21" y="203"/>
                        <a:pt x="22" y="191"/>
                      </a:cubicBezTo>
                      <a:cubicBezTo>
                        <a:pt x="19" y="170"/>
                        <a:pt x="26" y="166"/>
                        <a:pt x="26" y="166"/>
                      </a:cubicBezTo>
                      <a:cubicBezTo>
                        <a:pt x="38" y="148"/>
                        <a:pt x="25" y="143"/>
                        <a:pt x="25" y="143"/>
                      </a:cubicBezTo>
                      <a:cubicBezTo>
                        <a:pt x="27" y="120"/>
                        <a:pt x="14" y="112"/>
                        <a:pt x="14" y="112"/>
                      </a:cubicBezTo>
                      <a:cubicBezTo>
                        <a:pt x="11" y="108"/>
                        <a:pt x="21" y="107"/>
                        <a:pt x="22" y="92"/>
                      </a:cubicBezTo>
                      <a:cubicBezTo>
                        <a:pt x="14" y="73"/>
                        <a:pt x="1" y="79"/>
                        <a:pt x="1" y="79"/>
                      </a:cubicBezTo>
                      <a:cubicBezTo>
                        <a:pt x="1" y="79"/>
                        <a:pt x="1" y="79"/>
                        <a:pt x="1" y="79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0" y="59"/>
                        <a:pt x="0" y="59"/>
                        <a:pt x="0" y="59"/>
                      </a:cubicBezTo>
                      <a:cubicBezTo>
                        <a:pt x="24" y="53"/>
                        <a:pt x="11" y="32"/>
                        <a:pt x="11" y="32"/>
                      </a:cubicBezTo>
                      <a:cubicBezTo>
                        <a:pt x="26" y="28"/>
                        <a:pt x="31" y="17"/>
                        <a:pt x="39" y="18"/>
                      </a:cubicBezTo>
                      <a:cubicBezTo>
                        <a:pt x="39" y="18"/>
                        <a:pt x="45" y="0"/>
                        <a:pt x="56" y="16"/>
                      </a:cubicBezTo>
                      <a:cubicBezTo>
                        <a:pt x="56" y="16"/>
                        <a:pt x="60" y="27"/>
                        <a:pt x="72" y="18"/>
                      </a:cubicBezTo>
                      <a:cubicBezTo>
                        <a:pt x="72" y="18"/>
                        <a:pt x="80" y="11"/>
                        <a:pt x="93" y="13"/>
                      </a:cubicBezTo>
                      <a:cubicBezTo>
                        <a:pt x="93" y="13"/>
                        <a:pt x="109" y="11"/>
                        <a:pt x="115" y="21"/>
                      </a:cubicBezTo>
                      <a:cubicBezTo>
                        <a:pt x="115" y="21"/>
                        <a:pt x="127" y="30"/>
                        <a:pt x="124" y="38"/>
                      </a:cubicBezTo>
                      <a:cubicBezTo>
                        <a:pt x="124" y="38"/>
                        <a:pt x="127" y="49"/>
                        <a:pt x="146" y="53"/>
                      </a:cubicBezTo>
                      <a:cubicBezTo>
                        <a:pt x="146" y="53"/>
                        <a:pt x="146" y="53"/>
                        <a:pt x="146" y="53"/>
                      </a:cubicBezTo>
                      <a:cubicBezTo>
                        <a:pt x="145" y="83"/>
                        <a:pt x="145" y="83"/>
                        <a:pt x="145" y="83"/>
                      </a:cubicBezTo>
                      <a:cubicBezTo>
                        <a:pt x="144" y="104"/>
                        <a:pt x="144" y="104"/>
                        <a:pt x="144" y="104"/>
                      </a:cubicBezTo>
                      <a:cubicBezTo>
                        <a:pt x="144" y="104"/>
                        <a:pt x="144" y="104"/>
                        <a:pt x="144" y="104"/>
                      </a:cubicBezTo>
                      <a:cubicBezTo>
                        <a:pt x="144" y="104"/>
                        <a:pt x="158" y="102"/>
                        <a:pt x="156" y="114"/>
                      </a:cubicBezTo>
                      <a:cubicBezTo>
                        <a:pt x="156" y="114"/>
                        <a:pt x="153" y="127"/>
                        <a:pt x="164" y="127"/>
                      </a:cubicBezTo>
                      <a:cubicBezTo>
                        <a:pt x="164" y="127"/>
                        <a:pt x="175" y="131"/>
                        <a:pt x="168" y="141"/>
                      </a:cubicBezTo>
                      <a:cubicBezTo>
                        <a:pt x="168" y="141"/>
                        <a:pt x="162" y="152"/>
                        <a:pt x="190" y="148"/>
                      </a:cubicBezTo>
                      <a:cubicBezTo>
                        <a:pt x="190" y="148"/>
                        <a:pt x="204" y="143"/>
                        <a:pt x="212" y="158"/>
                      </a:cubicBezTo>
                      <a:cubicBezTo>
                        <a:pt x="212" y="158"/>
                        <a:pt x="217" y="165"/>
                        <a:pt x="217" y="171"/>
                      </a:cubicBezTo>
                      <a:cubicBezTo>
                        <a:pt x="217" y="171"/>
                        <a:pt x="215" y="184"/>
                        <a:pt x="225" y="188"/>
                      </a:cubicBezTo>
                      <a:cubicBezTo>
                        <a:pt x="225" y="188"/>
                        <a:pt x="239" y="200"/>
                        <a:pt x="270" y="189"/>
                      </a:cubicBezTo>
                      <a:cubicBezTo>
                        <a:pt x="275" y="181"/>
                        <a:pt x="285" y="186"/>
                        <a:pt x="285" y="181"/>
                      </a:cubicBezTo>
                      <a:cubicBezTo>
                        <a:pt x="285" y="181"/>
                        <a:pt x="288" y="163"/>
                        <a:pt x="300" y="180"/>
                      </a:cubicBezTo>
                      <a:cubicBezTo>
                        <a:pt x="300" y="180"/>
                        <a:pt x="303" y="189"/>
                        <a:pt x="315" y="187"/>
                      </a:cubicBezTo>
                      <a:cubicBezTo>
                        <a:pt x="315" y="187"/>
                        <a:pt x="298" y="196"/>
                        <a:pt x="314" y="210"/>
                      </a:cubicBezTo>
                      <a:cubicBezTo>
                        <a:pt x="325" y="206"/>
                        <a:pt x="317" y="218"/>
                        <a:pt x="325" y="220"/>
                      </a:cubicBezTo>
                      <a:cubicBezTo>
                        <a:pt x="327" y="233"/>
                        <a:pt x="322" y="240"/>
                        <a:pt x="322" y="240"/>
                      </a:cubicBezTo>
                      <a:cubicBezTo>
                        <a:pt x="322" y="240"/>
                        <a:pt x="303" y="244"/>
                        <a:pt x="305" y="256"/>
                      </a:cubicBezTo>
                      <a:cubicBezTo>
                        <a:pt x="308" y="261"/>
                        <a:pt x="295" y="261"/>
                        <a:pt x="294" y="269"/>
                      </a:cubicBezTo>
                      <a:cubicBezTo>
                        <a:pt x="294" y="269"/>
                        <a:pt x="300" y="282"/>
                        <a:pt x="289" y="285"/>
                      </a:cubicBezTo>
                      <a:cubicBezTo>
                        <a:pt x="289" y="285"/>
                        <a:pt x="287" y="313"/>
                        <a:pt x="272" y="311"/>
                      </a:cubicBezTo>
                      <a:cubicBezTo>
                        <a:pt x="272" y="311"/>
                        <a:pt x="255" y="315"/>
                        <a:pt x="248" y="308"/>
                      </a:cubicBezTo>
                      <a:cubicBezTo>
                        <a:pt x="248" y="308"/>
                        <a:pt x="238" y="297"/>
                        <a:pt x="230" y="309"/>
                      </a:cubicBezTo>
                      <a:cubicBezTo>
                        <a:pt x="230" y="309"/>
                        <a:pt x="215" y="302"/>
                        <a:pt x="215" y="329"/>
                      </a:cubicBezTo>
                      <a:cubicBezTo>
                        <a:pt x="215" y="329"/>
                        <a:pt x="216" y="345"/>
                        <a:pt x="209" y="357"/>
                      </a:cubicBezTo>
                      <a:cubicBezTo>
                        <a:pt x="209" y="357"/>
                        <a:pt x="208" y="365"/>
                        <a:pt x="208" y="374"/>
                      </a:cubicBezTo>
                      <a:cubicBezTo>
                        <a:pt x="208" y="374"/>
                        <a:pt x="191" y="383"/>
                        <a:pt x="190" y="392"/>
                      </a:cubicBezTo>
                      <a:cubicBezTo>
                        <a:pt x="190" y="392"/>
                        <a:pt x="188" y="405"/>
                        <a:pt x="165" y="406"/>
                      </a:cubicBezTo>
                      <a:cubicBezTo>
                        <a:pt x="165" y="406"/>
                        <a:pt x="158" y="397"/>
                        <a:pt x="135" y="406"/>
                      </a:cubicBezTo>
                      <a:cubicBezTo>
                        <a:pt x="135" y="406"/>
                        <a:pt x="125" y="394"/>
                        <a:pt x="125" y="412"/>
                      </a:cubicBezTo>
                      <a:cubicBezTo>
                        <a:pt x="125" y="412"/>
                        <a:pt x="127" y="427"/>
                        <a:pt x="120" y="422"/>
                      </a:cubicBezTo>
                      <a:cubicBezTo>
                        <a:pt x="120" y="422"/>
                        <a:pt x="114" y="416"/>
                        <a:pt x="103" y="416"/>
                      </a:cubicBezTo>
                      <a:cubicBezTo>
                        <a:pt x="103" y="416"/>
                        <a:pt x="94" y="401"/>
                        <a:pt x="89" y="416"/>
                      </a:cubicBezTo>
                      <a:cubicBezTo>
                        <a:pt x="89" y="416"/>
                        <a:pt x="72" y="415"/>
                        <a:pt x="68" y="424"/>
                      </a:cubicBezTo>
                      <a:cubicBezTo>
                        <a:pt x="68" y="424"/>
                        <a:pt x="61" y="434"/>
                        <a:pt x="52" y="432"/>
                      </a:cubicBezTo>
                      <a:cubicBezTo>
                        <a:pt x="45" y="434"/>
                        <a:pt x="51" y="420"/>
                        <a:pt x="40" y="425"/>
                      </a:cubicBezTo>
                      <a:cubicBezTo>
                        <a:pt x="31" y="407"/>
                        <a:pt x="21" y="408"/>
                        <a:pt x="21" y="408"/>
                      </a:cubicBezTo>
                      <a:cubicBezTo>
                        <a:pt x="15" y="397"/>
                        <a:pt x="24" y="394"/>
                        <a:pt x="24" y="394"/>
                      </a:cubicBezTo>
                      <a:cubicBezTo>
                        <a:pt x="31" y="379"/>
                        <a:pt x="22" y="365"/>
                        <a:pt x="22" y="365"/>
                      </a:cubicBezTo>
                      <a:cubicBezTo>
                        <a:pt x="17" y="361"/>
                        <a:pt x="27" y="346"/>
                        <a:pt x="17" y="346"/>
                      </a:cubicBezTo>
                      <a:cubicBezTo>
                        <a:pt x="17" y="346"/>
                        <a:pt x="17" y="346"/>
                        <a:pt x="17" y="346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8" name="Freeform 48"/>
                <p:cNvSpPr>
                  <a:spLocks/>
                </p:cNvSpPr>
                <p:nvPr/>
              </p:nvSpPr>
              <p:spPr bwMode="auto">
                <a:xfrm>
                  <a:off x="3179346" y="2171107"/>
                  <a:ext cx="937789" cy="952474"/>
                </a:xfrm>
                <a:custGeom>
                  <a:avLst/>
                  <a:gdLst/>
                  <a:ahLst/>
                  <a:cxnLst>
                    <a:cxn ang="0">
                      <a:pos x="185" y="376"/>
                    </a:cxn>
                    <a:cxn ang="0">
                      <a:pos x="175" y="364"/>
                    </a:cxn>
                    <a:cxn ang="0">
                      <a:pos x="176" y="341"/>
                    </a:cxn>
                    <a:cxn ang="0">
                      <a:pos x="161" y="334"/>
                    </a:cxn>
                    <a:cxn ang="0">
                      <a:pos x="146" y="335"/>
                    </a:cxn>
                    <a:cxn ang="0">
                      <a:pos x="131" y="343"/>
                    </a:cxn>
                    <a:cxn ang="0">
                      <a:pos x="86" y="342"/>
                    </a:cxn>
                    <a:cxn ang="0">
                      <a:pos x="78" y="324"/>
                    </a:cxn>
                    <a:cxn ang="0">
                      <a:pos x="73" y="312"/>
                    </a:cxn>
                    <a:cxn ang="0">
                      <a:pos x="51" y="302"/>
                    </a:cxn>
                    <a:cxn ang="0">
                      <a:pos x="29" y="295"/>
                    </a:cxn>
                    <a:cxn ang="0">
                      <a:pos x="25" y="281"/>
                    </a:cxn>
                    <a:cxn ang="0">
                      <a:pos x="17" y="268"/>
                    </a:cxn>
                    <a:cxn ang="0">
                      <a:pos x="5" y="258"/>
                    </a:cxn>
                    <a:cxn ang="0">
                      <a:pos x="5" y="258"/>
                    </a:cxn>
                    <a:cxn ang="0">
                      <a:pos x="6" y="237"/>
                    </a:cxn>
                    <a:cxn ang="0">
                      <a:pos x="7" y="207"/>
                    </a:cxn>
                    <a:cxn ang="0">
                      <a:pos x="7" y="207"/>
                    </a:cxn>
                    <a:cxn ang="0">
                      <a:pos x="14" y="200"/>
                    </a:cxn>
                    <a:cxn ang="0">
                      <a:pos x="11" y="163"/>
                    </a:cxn>
                    <a:cxn ang="0">
                      <a:pos x="14" y="130"/>
                    </a:cxn>
                    <a:cxn ang="0">
                      <a:pos x="29" y="97"/>
                    </a:cxn>
                    <a:cxn ang="0">
                      <a:pos x="43" y="82"/>
                    </a:cxn>
                    <a:cxn ang="0">
                      <a:pos x="52" y="66"/>
                    </a:cxn>
                    <a:cxn ang="0">
                      <a:pos x="78" y="60"/>
                    </a:cxn>
                    <a:cxn ang="0">
                      <a:pos x="91" y="59"/>
                    </a:cxn>
                    <a:cxn ang="0">
                      <a:pos x="131" y="56"/>
                    </a:cxn>
                    <a:cxn ang="0">
                      <a:pos x="161" y="61"/>
                    </a:cxn>
                    <a:cxn ang="0">
                      <a:pos x="176" y="65"/>
                    </a:cxn>
                    <a:cxn ang="0">
                      <a:pos x="203" y="52"/>
                    </a:cxn>
                    <a:cxn ang="0">
                      <a:pos x="210" y="24"/>
                    </a:cxn>
                    <a:cxn ang="0">
                      <a:pos x="231" y="16"/>
                    </a:cxn>
                    <a:cxn ang="0">
                      <a:pos x="257" y="24"/>
                    </a:cxn>
                    <a:cxn ang="0">
                      <a:pos x="295" y="8"/>
                    </a:cxn>
                    <a:cxn ang="0">
                      <a:pos x="327" y="4"/>
                    </a:cxn>
                    <a:cxn ang="0">
                      <a:pos x="319" y="24"/>
                    </a:cxn>
                    <a:cxn ang="0">
                      <a:pos x="318" y="49"/>
                    </a:cxn>
                    <a:cxn ang="0">
                      <a:pos x="330" y="61"/>
                    </a:cxn>
                    <a:cxn ang="0">
                      <a:pos x="321" y="71"/>
                    </a:cxn>
                    <a:cxn ang="0">
                      <a:pos x="319" y="79"/>
                    </a:cxn>
                    <a:cxn ang="0">
                      <a:pos x="307" y="87"/>
                    </a:cxn>
                    <a:cxn ang="0">
                      <a:pos x="292" y="103"/>
                    </a:cxn>
                    <a:cxn ang="0">
                      <a:pos x="295" y="132"/>
                    </a:cxn>
                    <a:cxn ang="0">
                      <a:pos x="297" y="151"/>
                    </a:cxn>
                    <a:cxn ang="0">
                      <a:pos x="293" y="175"/>
                    </a:cxn>
                    <a:cxn ang="0">
                      <a:pos x="285" y="189"/>
                    </a:cxn>
                    <a:cxn ang="0">
                      <a:pos x="289" y="216"/>
                    </a:cxn>
                    <a:cxn ang="0">
                      <a:pos x="278" y="230"/>
                    </a:cxn>
                    <a:cxn ang="0">
                      <a:pos x="285" y="243"/>
                    </a:cxn>
                    <a:cxn ang="0">
                      <a:pos x="294" y="251"/>
                    </a:cxn>
                    <a:cxn ang="0">
                      <a:pos x="306" y="245"/>
                    </a:cxn>
                    <a:cxn ang="0">
                      <a:pos x="306" y="264"/>
                    </a:cxn>
                    <a:cxn ang="0">
                      <a:pos x="297" y="284"/>
                    </a:cxn>
                    <a:cxn ang="0">
                      <a:pos x="300" y="309"/>
                    </a:cxn>
                    <a:cxn ang="0">
                      <a:pos x="292" y="339"/>
                    </a:cxn>
                    <a:cxn ang="0">
                      <a:pos x="279" y="357"/>
                    </a:cxn>
                    <a:cxn ang="0">
                      <a:pos x="259" y="368"/>
                    </a:cxn>
                    <a:cxn ang="0">
                      <a:pos x="227" y="368"/>
                    </a:cxn>
                    <a:cxn ang="0">
                      <a:pos x="205" y="368"/>
                    </a:cxn>
                    <a:cxn ang="0">
                      <a:pos x="185" y="376"/>
                    </a:cxn>
                    <a:cxn ang="0">
                      <a:pos x="185" y="376"/>
                    </a:cxn>
                  </a:cxnLst>
                  <a:rect l="0" t="0" r="r" b="b"/>
                  <a:pathLst>
                    <a:path w="331" h="381">
                      <a:moveTo>
                        <a:pt x="185" y="376"/>
                      </a:moveTo>
                      <a:cubicBezTo>
                        <a:pt x="177" y="374"/>
                        <a:pt x="186" y="360"/>
                        <a:pt x="175" y="364"/>
                      </a:cubicBezTo>
                      <a:cubicBezTo>
                        <a:pt x="159" y="350"/>
                        <a:pt x="176" y="341"/>
                        <a:pt x="176" y="341"/>
                      </a:cubicBezTo>
                      <a:cubicBezTo>
                        <a:pt x="164" y="343"/>
                        <a:pt x="161" y="334"/>
                        <a:pt x="161" y="334"/>
                      </a:cubicBezTo>
                      <a:cubicBezTo>
                        <a:pt x="149" y="317"/>
                        <a:pt x="146" y="335"/>
                        <a:pt x="146" y="335"/>
                      </a:cubicBezTo>
                      <a:cubicBezTo>
                        <a:pt x="146" y="340"/>
                        <a:pt x="136" y="335"/>
                        <a:pt x="131" y="343"/>
                      </a:cubicBezTo>
                      <a:cubicBezTo>
                        <a:pt x="100" y="354"/>
                        <a:pt x="86" y="342"/>
                        <a:pt x="86" y="342"/>
                      </a:cubicBezTo>
                      <a:cubicBezTo>
                        <a:pt x="76" y="338"/>
                        <a:pt x="78" y="324"/>
                        <a:pt x="78" y="324"/>
                      </a:cubicBezTo>
                      <a:cubicBezTo>
                        <a:pt x="78" y="318"/>
                        <a:pt x="73" y="312"/>
                        <a:pt x="73" y="312"/>
                      </a:cubicBezTo>
                      <a:cubicBezTo>
                        <a:pt x="65" y="297"/>
                        <a:pt x="51" y="302"/>
                        <a:pt x="51" y="302"/>
                      </a:cubicBezTo>
                      <a:cubicBezTo>
                        <a:pt x="23" y="306"/>
                        <a:pt x="29" y="295"/>
                        <a:pt x="29" y="295"/>
                      </a:cubicBezTo>
                      <a:cubicBezTo>
                        <a:pt x="36" y="285"/>
                        <a:pt x="25" y="281"/>
                        <a:pt x="25" y="281"/>
                      </a:cubicBezTo>
                      <a:cubicBezTo>
                        <a:pt x="14" y="281"/>
                        <a:pt x="17" y="268"/>
                        <a:pt x="17" y="268"/>
                      </a:cubicBezTo>
                      <a:cubicBezTo>
                        <a:pt x="19" y="256"/>
                        <a:pt x="5" y="258"/>
                        <a:pt x="5" y="258"/>
                      </a:cubicBezTo>
                      <a:cubicBezTo>
                        <a:pt x="5" y="258"/>
                        <a:pt x="5" y="258"/>
                        <a:pt x="5" y="258"/>
                      </a:cubicBezTo>
                      <a:cubicBezTo>
                        <a:pt x="6" y="237"/>
                        <a:pt x="6" y="237"/>
                        <a:pt x="6" y="237"/>
                      </a:cubicBezTo>
                      <a:cubicBezTo>
                        <a:pt x="7" y="207"/>
                        <a:pt x="7" y="207"/>
                        <a:pt x="7" y="207"/>
                      </a:cubicBezTo>
                      <a:cubicBezTo>
                        <a:pt x="7" y="207"/>
                        <a:pt x="7" y="207"/>
                        <a:pt x="7" y="207"/>
                      </a:cubicBezTo>
                      <a:cubicBezTo>
                        <a:pt x="7" y="207"/>
                        <a:pt x="6" y="197"/>
                        <a:pt x="14" y="200"/>
                      </a:cubicBezTo>
                      <a:cubicBezTo>
                        <a:pt x="23" y="182"/>
                        <a:pt x="7" y="182"/>
                        <a:pt x="11" y="163"/>
                      </a:cubicBezTo>
                      <a:cubicBezTo>
                        <a:pt x="11" y="163"/>
                        <a:pt x="0" y="155"/>
                        <a:pt x="14" y="130"/>
                      </a:cubicBezTo>
                      <a:cubicBezTo>
                        <a:pt x="22" y="124"/>
                        <a:pt x="18" y="108"/>
                        <a:pt x="29" y="97"/>
                      </a:cubicBezTo>
                      <a:cubicBezTo>
                        <a:pt x="39" y="92"/>
                        <a:pt x="36" y="83"/>
                        <a:pt x="43" y="82"/>
                      </a:cubicBezTo>
                      <a:cubicBezTo>
                        <a:pt x="43" y="82"/>
                        <a:pt x="53" y="75"/>
                        <a:pt x="52" y="66"/>
                      </a:cubicBezTo>
                      <a:cubicBezTo>
                        <a:pt x="52" y="66"/>
                        <a:pt x="47" y="53"/>
                        <a:pt x="78" y="60"/>
                      </a:cubicBezTo>
                      <a:cubicBezTo>
                        <a:pt x="78" y="60"/>
                        <a:pt x="89" y="75"/>
                        <a:pt x="91" y="59"/>
                      </a:cubicBezTo>
                      <a:cubicBezTo>
                        <a:pt x="91" y="59"/>
                        <a:pt x="97" y="45"/>
                        <a:pt x="131" y="56"/>
                      </a:cubicBezTo>
                      <a:cubicBezTo>
                        <a:pt x="131" y="56"/>
                        <a:pt x="159" y="52"/>
                        <a:pt x="161" y="61"/>
                      </a:cubicBezTo>
                      <a:cubicBezTo>
                        <a:pt x="161" y="61"/>
                        <a:pt x="155" y="71"/>
                        <a:pt x="176" y="65"/>
                      </a:cubicBezTo>
                      <a:cubicBezTo>
                        <a:pt x="176" y="65"/>
                        <a:pt x="183" y="69"/>
                        <a:pt x="203" y="52"/>
                      </a:cubicBezTo>
                      <a:cubicBezTo>
                        <a:pt x="203" y="38"/>
                        <a:pt x="209" y="38"/>
                        <a:pt x="210" y="24"/>
                      </a:cubicBezTo>
                      <a:cubicBezTo>
                        <a:pt x="210" y="24"/>
                        <a:pt x="200" y="7"/>
                        <a:pt x="231" y="16"/>
                      </a:cubicBezTo>
                      <a:cubicBezTo>
                        <a:pt x="231" y="16"/>
                        <a:pt x="249" y="28"/>
                        <a:pt x="257" y="24"/>
                      </a:cubicBezTo>
                      <a:cubicBezTo>
                        <a:pt x="273" y="24"/>
                        <a:pt x="270" y="27"/>
                        <a:pt x="295" y="8"/>
                      </a:cubicBezTo>
                      <a:cubicBezTo>
                        <a:pt x="295" y="8"/>
                        <a:pt x="296" y="0"/>
                        <a:pt x="327" y="4"/>
                      </a:cubicBezTo>
                      <a:cubicBezTo>
                        <a:pt x="322" y="11"/>
                        <a:pt x="319" y="24"/>
                        <a:pt x="319" y="24"/>
                      </a:cubicBezTo>
                      <a:cubicBezTo>
                        <a:pt x="309" y="46"/>
                        <a:pt x="318" y="49"/>
                        <a:pt x="318" y="49"/>
                      </a:cubicBezTo>
                      <a:cubicBezTo>
                        <a:pt x="330" y="53"/>
                        <a:pt x="330" y="61"/>
                        <a:pt x="330" y="61"/>
                      </a:cubicBezTo>
                      <a:cubicBezTo>
                        <a:pt x="331" y="65"/>
                        <a:pt x="318" y="59"/>
                        <a:pt x="321" y="71"/>
                      </a:cubicBezTo>
                      <a:cubicBezTo>
                        <a:pt x="317" y="75"/>
                        <a:pt x="319" y="79"/>
                        <a:pt x="319" y="79"/>
                      </a:cubicBezTo>
                      <a:cubicBezTo>
                        <a:pt x="322" y="90"/>
                        <a:pt x="307" y="87"/>
                        <a:pt x="307" y="87"/>
                      </a:cubicBezTo>
                      <a:cubicBezTo>
                        <a:pt x="296" y="90"/>
                        <a:pt x="292" y="103"/>
                        <a:pt x="292" y="103"/>
                      </a:cubicBezTo>
                      <a:cubicBezTo>
                        <a:pt x="278" y="114"/>
                        <a:pt x="295" y="132"/>
                        <a:pt x="295" y="132"/>
                      </a:cubicBezTo>
                      <a:cubicBezTo>
                        <a:pt x="300" y="132"/>
                        <a:pt x="297" y="151"/>
                        <a:pt x="297" y="151"/>
                      </a:cubicBezTo>
                      <a:cubicBezTo>
                        <a:pt x="305" y="162"/>
                        <a:pt x="292" y="158"/>
                        <a:pt x="293" y="175"/>
                      </a:cubicBezTo>
                      <a:cubicBezTo>
                        <a:pt x="297" y="191"/>
                        <a:pt x="285" y="189"/>
                        <a:pt x="285" y="189"/>
                      </a:cubicBezTo>
                      <a:cubicBezTo>
                        <a:pt x="291" y="206"/>
                        <a:pt x="289" y="216"/>
                        <a:pt x="289" y="216"/>
                      </a:cubicBezTo>
                      <a:cubicBezTo>
                        <a:pt x="287" y="222"/>
                        <a:pt x="275" y="217"/>
                        <a:pt x="278" y="230"/>
                      </a:cubicBezTo>
                      <a:cubicBezTo>
                        <a:pt x="274" y="240"/>
                        <a:pt x="285" y="243"/>
                        <a:pt x="285" y="243"/>
                      </a:cubicBezTo>
                      <a:cubicBezTo>
                        <a:pt x="291" y="240"/>
                        <a:pt x="287" y="252"/>
                        <a:pt x="294" y="251"/>
                      </a:cubicBezTo>
                      <a:cubicBezTo>
                        <a:pt x="300" y="251"/>
                        <a:pt x="297" y="244"/>
                        <a:pt x="306" y="245"/>
                      </a:cubicBezTo>
                      <a:cubicBezTo>
                        <a:pt x="296" y="258"/>
                        <a:pt x="306" y="264"/>
                        <a:pt x="306" y="264"/>
                      </a:cubicBezTo>
                      <a:cubicBezTo>
                        <a:pt x="305" y="274"/>
                        <a:pt x="296" y="276"/>
                        <a:pt x="297" y="284"/>
                      </a:cubicBezTo>
                      <a:cubicBezTo>
                        <a:pt x="296" y="291"/>
                        <a:pt x="306" y="299"/>
                        <a:pt x="300" y="309"/>
                      </a:cubicBezTo>
                      <a:cubicBezTo>
                        <a:pt x="300" y="327"/>
                        <a:pt x="292" y="339"/>
                        <a:pt x="292" y="339"/>
                      </a:cubicBezTo>
                      <a:cubicBezTo>
                        <a:pt x="292" y="347"/>
                        <a:pt x="279" y="357"/>
                        <a:pt x="279" y="357"/>
                      </a:cubicBezTo>
                      <a:cubicBezTo>
                        <a:pt x="270" y="371"/>
                        <a:pt x="259" y="368"/>
                        <a:pt x="259" y="368"/>
                      </a:cubicBezTo>
                      <a:cubicBezTo>
                        <a:pt x="237" y="377"/>
                        <a:pt x="227" y="368"/>
                        <a:pt x="227" y="368"/>
                      </a:cubicBezTo>
                      <a:cubicBezTo>
                        <a:pt x="217" y="358"/>
                        <a:pt x="205" y="368"/>
                        <a:pt x="205" y="368"/>
                      </a:cubicBezTo>
                      <a:cubicBezTo>
                        <a:pt x="197" y="381"/>
                        <a:pt x="185" y="376"/>
                        <a:pt x="185" y="376"/>
                      </a:cubicBezTo>
                      <a:cubicBezTo>
                        <a:pt x="185" y="376"/>
                        <a:pt x="185" y="376"/>
                        <a:pt x="185" y="376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19" name="Freeform 47"/>
                <p:cNvSpPr>
                  <a:spLocks/>
                </p:cNvSpPr>
                <p:nvPr/>
              </p:nvSpPr>
              <p:spPr bwMode="auto">
                <a:xfrm>
                  <a:off x="3955166" y="2149642"/>
                  <a:ext cx="914650" cy="1046380"/>
                </a:xfrm>
                <a:custGeom>
                  <a:avLst/>
                  <a:gdLst/>
                  <a:ahLst/>
                  <a:cxnLst>
                    <a:cxn ang="0">
                      <a:pos x="45" y="33"/>
                    </a:cxn>
                    <a:cxn ang="0">
                      <a:pos x="56" y="70"/>
                    </a:cxn>
                    <a:cxn ang="0">
                      <a:pos x="45" y="88"/>
                    </a:cxn>
                    <a:cxn ang="0">
                      <a:pos x="18" y="112"/>
                    </a:cxn>
                    <a:cxn ang="0">
                      <a:pos x="23" y="160"/>
                    </a:cxn>
                    <a:cxn ang="0">
                      <a:pos x="11" y="198"/>
                    </a:cxn>
                    <a:cxn ang="0">
                      <a:pos x="4" y="239"/>
                    </a:cxn>
                    <a:cxn ang="0">
                      <a:pos x="20" y="260"/>
                    </a:cxn>
                    <a:cxn ang="0">
                      <a:pos x="32" y="273"/>
                    </a:cxn>
                    <a:cxn ang="0">
                      <a:pos x="26" y="318"/>
                    </a:cxn>
                    <a:cxn ang="0">
                      <a:pos x="35" y="348"/>
                    </a:cxn>
                    <a:cxn ang="0">
                      <a:pos x="90" y="355"/>
                    </a:cxn>
                    <a:cxn ang="0">
                      <a:pos x="123" y="352"/>
                    </a:cxn>
                    <a:cxn ang="0">
                      <a:pos x="155" y="342"/>
                    </a:cxn>
                    <a:cxn ang="0">
                      <a:pos x="173" y="391"/>
                    </a:cxn>
                    <a:cxn ang="0">
                      <a:pos x="183" y="407"/>
                    </a:cxn>
                    <a:cxn ang="0">
                      <a:pos x="212" y="410"/>
                    </a:cxn>
                    <a:cxn ang="0">
                      <a:pos x="253" y="400"/>
                    </a:cxn>
                    <a:cxn ang="0">
                      <a:pos x="300" y="376"/>
                    </a:cxn>
                    <a:cxn ang="0">
                      <a:pos x="313" y="361"/>
                    </a:cxn>
                    <a:cxn ang="0">
                      <a:pos x="293" y="322"/>
                    </a:cxn>
                    <a:cxn ang="0">
                      <a:pos x="288" y="283"/>
                    </a:cxn>
                    <a:cxn ang="0">
                      <a:pos x="276" y="248"/>
                    </a:cxn>
                    <a:cxn ang="0">
                      <a:pos x="254" y="229"/>
                    </a:cxn>
                    <a:cxn ang="0">
                      <a:pos x="198" y="218"/>
                    </a:cxn>
                    <a:cxn ang="0">
                      <a:pos x="164" y="211"/>
                    </a:cxn>
                    <a:cxn ang="0">
                      <a:pos x="150" y="189"/>
                    </a:cxn>
                    <a:cxn ang="0">
                      <a:pos x="138" y="145"/>
                    </a:cxn>
                    <a:cxn ang="0">
                      <a:pos x="168" y="116"/>
                    </a:cxn>
                    <a:cxn ang="0">
                      <a:pos x="127" y="69"/>
                    </a:cxn>
                    <a:cxn ang="0">
                      <a:pos x="102" y="20"/>
                    </a:cxn>
                    <a:cxn ang="0">
                      <a:pos x="66" y="26"/>
                    </a:cxn>
                    <a:cxn ang="0">
                      <a:pos x="53" y="13"/>
                    </a:cxn>
                  </a:cxnLst>
                  <a:rect l="0" t="0" r="r" b="b"/>
                  <a:pathLst>
                    <a:path w="323" h="419">
                      <a:moveTo>
                        <a:pt x="53" y="13"/>
                      </a:moveTo>
                      <a:cubicBezTo>
                        <a:pt x="48" y="20"/>
                        <a:pt x="45" y="33"/>
                        <a:pt x="45" y="33"/>
                      </a:cubicBezTo>
                      <a:cubicBezTo>
                        <a:pt x="35" y="55"/>
                        <a:pt x="44" y="58"/>
                        <a:pt x="44" y="58"/>
                      </a:cubicBezTo>
                      <a:cubicBezTo>
                        <a:pt x="56" y="62"/>
                        <a:pt x="56" y="70"/>
                        <a:pt x="56" y="70"/>
                      </a:cubicBezTo>
                      <a:cubicBezTo>
                        <a:pt x="57" y="74"/>
                        <a:pt x="44" y="68"/>
                        <a:pt x="47" y="80"/>
                      </a:cubicBezTo>
                      <a:cubicBezTo>
                        <a:pt x="43" y="84"/>
                        <a:pt x="45" y="88"/>
                        <a:pt x="45" y="88"/>
                      </a:cubicBezTo>
                      <a:cubicBezTo>
                        <a:pt x="48" y="99"/>
                        <a:pt x="33" y="96"/>
                        <a:pt x="33" y="96"/>
                      </a:cubicBezTo>
                      <a:cubicBezTo>
                        <a:pt x="22" y="99"/>
                        <a:pt x="18" y="112"/>
                        <a:pt x="18" y="112"/>
                      </a:cubicBezTo>
                      <a:cubicBezTo>
                        <a:pt x="4" y="123"/>
                        <a:pt x="21" y="141"/>
                        <a:pt x="21" y="141"/>
                      </a:cubicBezTo>
                      <a:cubicBezTo>
                        <a:pt x="26" y="141"/>
                        <a:pt x="23" y="160"/>
                        <a:pt x="23" y="160"/>
                      </a:cubicBezTo>
                      <a:cubicBezTo>
                        <a:pt x="31" y="171"/>
                        <a:pt x="18" y="167"/>
                        <a:pt x="19" y="184"/>
                      </a:cubicBezTo>
                      <a:cubicBezTo>
                        <a:pt x="23" y="200"/>
                        <a:pt x="11" y="198"/>
                        <a:pt x="11" y="198"/>
                      </a:cubicBezTo>
                      <a:cubicBezTo>
                        <a:pt x="17" y="215"/>
                        <a:pt x="15" y="225"/>
                        <a:pt x="15" y="225"/>
                      </a:cubicBezTo>
                      <a:cubicBezTo>
                        <a:pt x="13" y="231"/>
                        <a:pt x="1" y="226"/>
                        <a:pt x="4" y="239"/>
                      </a:cubicBezTo>
                      <a:cubicBezTo>
                        <a:pt x="0" y="249"/>
                        <a:pt x="11" y="252"/>
                        <a:pt x="11" y="252"/>
                      </a:cubicBezTo>
                      <a:cubicBezTo>
                        <a:pt x="17" y="249"/>
                        <a:pt x="13" y="261"/>
                        <a:pt x="20" y="260"/>
                      </a:cubicBezTo>
                      <a:cubicBezTo>
                        <a:pt x="26" y="260"/>
                        <a:pt x="23" y="253"/>
                        <a:pt x="32" y="254"/>
                      </a:cubicBezTo>
                      <a:cubicBezTo>
                        <a:pt x="22" y="267"/>
                        <a:pt x="32" y="273"/>
                        <a:pt x="32" y="273"/>
                      </a:cubicBezTo>
                      <a:cubicBezTo>
                        <a:pt x="31" y="283"/>
                        <a:pt x="22" y="285"/>
                        <a:pt x="23" y="293"/>
                      </a:cubicBezTo>
                      <a:cubicBezTo>
                        <a:pt x="22" y="300"/>
                        <a:pt x="32" y="308"/>
                        <a:pt x="26" y="318"/>
                      </a:cubicBezTo>
                      <a:cubicBezTo>
                        <a:pt x="26" y="336"/>
                        <a:pt x="18" y="348"/>
                        <a:pt x="18" y="348"/>
                      </a:cubicBezTo>
                      <a:cubicBezTo>
                        <a:pt x="32" y="355"/>
                        <a:pt x="35" y="348"/>
                        <a:pt x="35" y="348"/>
                      </a:cubicBezTo>
                      <a:cubicBezTo>
                        <a:pt x="41" y="341"/>
                        <a:pt x="55" y="352"/>
                        <a:pt x="55" y="352"/>
                      </a:cubicBezTo>
                      <a:cubicBezTo>
                        <a:pt x="59" y="355"/>
                        <a:pt x="84" y="351"/>
                        <a:pt x="90" y="355"/>
                      </a:cubicBezTo>
                      <a:cubicBezTo>
                        <a:pt x="107" y="359"/>
                        <a:pt x="107" y="352"/>
                        <a:pt x="107" y="352"/>
                      </a:cubicBezTo>
                      <a:cubicBezTo>
                        <a:pt x="115" y="339"/>
                        <a:pt x="123" y="352"/>
                        <a:pt x="123" y="352"/>
                      </a:cubicBezTo>
                      <a:cubicBezTo>
                        <a:pt x="133" y="361"/>
                        <a:pt x="138" y="352"/>
                        <a:pt x="138" y="352"/>
                      </a:cubicBezTo>
                      <a:cubicBezTo>
                        <a:pt x="139" y="341"/>
                        <a:pt x="155" y="342"/>
                        <a:pt x="155" y="342"/>
                      </a:cubicBezTo>
                      <a:cubicBezTo>
                        <a:pt x="154" y="366"/>
                        <a:pt x="165" y="369"/>
                        <a:pt x="165" y="369"/>
                      </a:cubicBezTo>
                      <a:cubicBezTo>
                        <a:pt x="172" y="377"/>
                        <a:pt x="173" y="391"/>
                        <a:pt x="173" y="391"/>
                      </a:cubicBezTo>
                      <a:cubicBezTo>
                        <a:pt x="180" y="388"/>
                        <a:pt x="180" y="398"/>
                        <a:pt x="180" y="398"/>
                      </a:cubicBezTo>
                      <a:cubicBezTo>
                        <a:pt x="193" y="403"/>
                        <a:pt x="183" y="407"/>
                        <a:pt x="183" y="407"/>
                      </a:cubicBezTo>
                      <a:cubicBezTo>
                        <a:pt x="178" y="418"/>
                        <a:pt x="191" y="417"/>
                        <a:pt x="191" y="417"/>
                      </a:cubicBezTo>
                      <a:cubicBezTo>
                        <a:pt x="205" y="419"/>
                        <a:pt x="212" y="410"/>
                        <a:pt x="212" y="410"/>
                      </a:cubicBezTo>
                      <a:cubicBezTo>
                        <a:pt x="224" y="403"/>
                        <a:pt x="235" y="409"/>
                        <a:pt x="235" y="409"/>
                      </a:cubicBezTo>
                      <a:cubicBezTo>
                        <a:pt x="242" y="399"/>
                        <a:pt x="253" y="400"/>
                        <a:pt x="253" y="400"/>
                      </a:cubicBezTo>
                      <a:cubicBezTo>
                        <a:pt x="258" y="388"/>
                        <a:pt x="272" y="392"/>
                        <a:pt x="272" y="392"/>
                      </a:cubicBezTo>
                      <a:cubicBezTo>
                        <a:pt x="275" y="377"/>
                        <a:pt x="296" y="370"/>
                        <a:pt x="300" y="376"/>
                      </a:cubicBezTo>
                      <a:cubicBezTo>
                        <a:pt x="304" y="370"/>
                        <a:pt x="323" y="378"/>
                        <a:pt x="323" y="364"/>
                      </a:cubicBezTo>
                      <a:cubicBezTo>
                        <a:pt x="318" y="364"/>
                        <a:pt x="313" y="361"/>
                        <a:pt x="313" y="361"/>
                      </a:cubicBezTo>
                      <a:cubicBezTo>
                        <a:pt x="312" y="341"/>
                        <a:pt x="303" y="344"/>
                        <a:pt x="303" y="344"/>
                      </a:cubicBezTo>
                      <a:cubicBezTo>
                        <a:pt x="290" y="341"/>
                        <a:pt x="293" y="322"/>
                        <a:pt x="293" y="322"/>
                      </a:cubicBezTo>
                      <a:cubicBezTo>
                        <a:pt x="281" y="311"/>
                        <a:pt x="297" y="315"/>
                        <a:pt x="296" y="300"/>
                      </a:cubicBezTo>
                      <a:cubicBezTo>
                        <a:pt x="296" y="289"/>
                        <a:pt x="287" y="287"/>
                        <a:pt x="288" y="283"/>
                      </a:cubicBezTo>
                      <a:cubicBezTo>
                        <a:pt x="279" y="276"/>
                        <a:pt x="279" y="263"/>
                        <a:pt x="279" y="263"/>
                      </a:cubicBezTo>
                      <a:cubicBezTo>
                        <a:pt x="269" y="255"/>
                        <a:pt x="276" y="248"/>
                        <a:pt x="276" y="248"/>
                      </a:cubicBezTo>
                      <a:cubicBezTo>
                        <a:pt x="285" y="240"/>
                        <a:pt x="268" y="242"/>
                        <a:pt x="268" y="242"/>
                      </a:cubicBezTo>
                      <a:cubicBezTo>
                        <a:pt x="257" y="248"/>
                        <a:pt x="254" y="229"/>
                        <a:pt x="254" y="229"/>
                      </a:cubicBezTo>
                      <a:cubicBezTo>
                        <a:pt x="254" y="205"/>
                        <a:pt x="231" y="215"/>
                        <a:pt x="231" y="215"/>
                      </a:cubicBezTo>
                      <a:cubicBezTo>
                        <a:pt x="215" y="227"/>
                        <a:pt x="198" y="218"/>
                        <a:pt x="198" y="218"/>
                      </a:cubicBezTo>
                      <a:cubicBezTo>
                        <a:pt x="192" y="207"/>
                        <a:pt x="180" y="211"/>
                        <a:pt x="180" y="211"/>
                      </a:cubicBezTo>
                      <a:cubicBezTo>
                        <a:pt x="172" y="202"/>
                        <a:pt x="164" y="211"/>
                        <a:pt x="164" y="211"/>
                      </a:cubicBezTo>
                      <a:cubicBezTo>
                        <a:pt x="139" y="217"/>
                        <a:pt x="154" y="205"/>
                        <a:pt x="154" y="205"/>
                      </a:cubicBezTo>
                      <a:cubicBezTo>
                        <a:pt x="164" y="187"/>
                        <a:pt x="150" y="189"/>
                        <a:pt x="150" y="189"/>
                      </a:cubicBezTo>
                      <a:cubicBezTo>
                        <a:pt x="144" y="190"/>
                        <a:pt x="149" y="168"/>
                        <a:pt x="149" y="168"/>
                      </a:cubicBezTo>
                      <a:cubicBezTo>
                        <a:pt x="149" y="155"/>
                        <a:pt x="138" y="145"/>
                        <a:pt x="138" y="145"/>
                      </a:cubicBezTo>
                      <a:cubicBezTo>
                        <a:pt x="124" y="134"/>
                        <a:pt x="150" y="128"/>
                        <a:pt x="150" y="128"/>
                      </a:cubicBezTo>
                      <a:cubicBezTo>
                        <a:pt x="169" y="128"/>
                        <a:pt x="168" y="116"/>
                        <a:pt x="168" y="116"/>
                      </a:cubicBezTo>
                      <a:cubicBezTo>
                        <a:pt x="169" y="106"/>
                        <a:pt x="149" y="95"/>
                        <a:pt x="149" y="95"/>
                      </a:cubicBezTo>
                      <a:cubicBezTo>
                        <a:pt x="129" y="84"/>
                        <a:pt x="127" y="69"/>
                        <a:pt x="127" y="69"/>
                      </a:cubicBezTo>
                      <a:cubicBezTo>
                        <a:pt x="118" y="55"/>
                        <a:pt x="139" y="51"/>
                        <a:pt x="119" y="40"/>
                      </a:cubicBezTo>
                      <a:cubicBezTo>
                        <a:pt x="109" y="40"/>
                        <a:pt x="102" y="20"/>
                        <a:pt x="102" y="20"/>
                      </a:cubicBezTo>
                      <a:cubicBezTo>
                        <a:pt x="92" y="0"/>
                        <a:pt x="84" y="13"/>
                        <a:pt x="84" y="13"/>
                      </a:cubicBezTo>
                      <a:cubicBezTo>
                        <a:pt x="73" y="13"/>
                        <a:pt x="66" y="26"/>
                        <a:pt x="66" y="26"/>
                      </a:cubicBezTo>
                      <a:cubicBezTo>
                        <a:pt x="58" y="29"/>
                        <a:pt x="68" y="10"/>
                        <a:pt x="53" y="13"/>
                      </a:cubicBezTo>
                      <a:cubicBezTo>
                        <a:pt x="53" y="13"/>
                        <a:pt x="53" y="13"/>
                        <a:pt x="53" y="13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0" name="Freeform 46"/>
                <p:cNvSpPr>
                  <a:spLocks/>
                </p:cNvSpPr>
                <p:nvPr/>
              </p:nvSpPr>
              <p:spPr bwMode="auto">
                <a:xfrm>
                  <a:off x="3697921" y="2996136"/>
                  <a:ext cx="1133785" cy="827714"/>
                </a:xfrm>
                <a:custGeom>
                  <a:avLst/>
                  <a:gdLst/>
                  <a:ahLst/>
                  <a:cxnLst>
                    <a:cxn ang="0">
                      <a:pos x="326" y="70"/>
                    </a:cxn>
                    <a:cxn ang="0">
                      <a:pos x="324" y="92"/>
                    </a:cxn>
                    <a:cxn ang="0">
                      <a:pos x="327" y="112"/>
                    </a:cxn>
                    <a:cxn ang="0">
                      <a:pos x="349" y="123"/>
                    </a:cxn>
                    <a:cxn ang="0">
                      <a:pos x="363" y="137"/>
                    </a:cxn>
                    <a:cxn ang="0">
                      <a:pos x="383" y="152"/>
                    </a:cxn>
                    <a:cxn ang="0">
                      <a:pos x="393" y="160"/>
                    </a:cxn>
                    <a:cxn ang="0">
                      <a:pos x="390" y="185"/>
                    </a:cxn>
                    <a:cxn ang="0">
                      <a:pos x="383" y="198"/>
                    </a:cxn>
                    <a:cxn ang="0">
                      <a:pos x="380" y="216"/>
                    </a:cxn>
                    <a:cxn ang="0">
                      <a:pos x="359" y="221"/>
                    </a:cxn>
                    <a:cxn ang="0">
                      <a:pos x="343" y="246"/>
                    </a:cxn>
                    <a:cxn ang="0">
                      <a:pos x="315" y="250"/>
                    </a:cxn>
                    <a:cxn ang="0">
                      <a:pos x="285" y="265"/>
                    </a:cxn>
                    <a:cxn ang="0">
                      <a:pos x="270" y="284"/>
                    </a:cxn>
                    <a:cxn ang="0">
                      <a:pos x="266" y="301"/>
                    </a:cxn>
                    <a:cxn ang="0">
                      <a:pos x="263" y="321"/>
                    </a:cxn>
                    <a:cxn ang="0">
                      <a:pos x="242" y="318"/>
                    </a:cxn>
                    <a:cxn ang="0">
                      <a:pos x="219" y="307"/>
                    </a:cxn>
                    <a:cxn ang="0">
                      <a:pos x="185" y="299"/>
                    </a:cxn>
                    <a:cxn ang="0">
                      <a:pos x="168" y="298"/>
                    </a:cxn>
                    <a:cxn ang="0">
                      <a:pos x="150" y="284"/>
                    </a:cxn>
                    <a:cxn ang="0">
                      <a:pos x="136" y="273"/>
                    </a:cxn>
                    <a:cxn ang="0">
                      <a:pos x="126" y="260"/>
                    </a:cxn>
                    <a:cxn ang="0">
                      <a:pos x="96" y="249"/>
                    </a:cxn>
                    <a:cxn ang="0">
                      <a:pos x="84" y="240"/>
                    </a:cxn>
                    <a:cxn ang="0">
                      <a:pos x="75" y="210"/>
                    </a:cxn>
                    <a:cxn ang="0">
                      <a:pos x="74" y="188"/>
                    </a:cxn>
                    <a:cxn ang="0">
                      <a:pos x="73" y="174"/>
                    </a:cxn>
                    <a:cxn ang="0">
                      <a:pos x="58" y="161"/>
                    </a:cxn>
                    <a:cxn ang="0">
                      <a:pos x="43" y="143"/>
                    </a:cxn>
                    <a:cxn ang="0">
                      <a:pos x="36" y="128"/>
                    </a:cxn>
                    <a:cxn ang="0">
                      <a:pos x="34" y="110"/>
                    </a:cxn>
                    <a:cxn ang="0">
                      <a:pos x="24" y="99"/>
                    </a:cxn>
                    <a:cxn ang="0">
                      <a:pos x="15" y="79"/>
                    </a:cxn>
                    <a:cxn ang="0">
                      <a:pos x="0" y="63"/>
                    </a:cxn>
                    <a:cxn ang="0">
                      <a:pos x="3" y="46"/>
                    </a:cxn>
                    <a:cxn ang="0">
                      <a:pos x="22" y="38"/>
                    </a:cxn>
                    <a:cxn ang="0">
                      <a:pos x="44" y="38"/>
                    </a:cxn>
                    <a:cxn ang="0">
                      <a:pos x="76" y="38"/>
                    </a:cxn>
                    <a:cxn ang="0">
                      <a:pos x="96" y="27"/>
                    </a:cxn>
                    <a:cxn ang="0">
                      <a:pos x="109" y="9"/>
                    </a:cxn>
                    <a:cxn ang="0">
                      <a:pos x="126" y="9"/>
                    </a:cxn>
                    <a:cxn ang="0">
                      <a:pos x="146" y="13"/>
                    </a:cxn>
                    <a:cxn ang="0">
                      <a:pos x="181" y="16"/>
                    </a:cxn>
                    <a:cxn ang="0">
                      <a:pos x="198" y="13"/>
                    </a:cxn>
                    <a:cxn ang="0">
                      <a:pos x="214" y="13"/>
                    </a:cxn>
                    <a:cxn ang="0">
                      <a:pos x="229" y="13"/>
                    </a:cxn>
                    <a:cxn ang="0">
                      <a:pos x="246" y="3"/>
                    </a:cxn>
                    <a:cxn ang="0">
                      <a:pos x="256" y="30"/>
                    </a:cxn>
                    <a:cxn ang="0">
                      <a:pos x="264" y="52"/>
                    </a:cxn>
                    <a:cxn ang="0">
                      <a:pos x="271" y="59"/>
                    </a:cxn>
                    <a:cxn ang="0">
                      <a:pos x="274" y="68"/>
                    </a:cxn>
                    <a:cxn ang="0">
                      <a:pos x="282" y="78"/>
                    </a:cxn>
                    <a:cxn ang="0">
                      <a:pos x="303" y="71"/>
                    </a:cxn>
                    <a:cxn ang="0">
                      <a:pos x="326" y="70"/>
                    </a:cxn>
                    <a:cxn ang="0">
                      <a:pos x="326" y="70"/>
                    </a:cxn>
                  </a:cxnLst>
                  <a:rect l="0" t="0" r="r" b="b"/>
                  <a:pathLst>
                    <a:path w="400" h="331">
                      <a:moveTo>
                        <a:pt x="326" y="70"/>
                      </a:moveTo>
                      <a:cubicBezTo>
                        <a:pt x="329" y="84"/>
                        <a:pt x="324" y="92"/>
                        <a:pt x="324" y="92"/>
                      </a:cubicBezTo>
                      <a:cubicBezTo>
                        <a:pt x="312" y="108"/>
                        <a:pt x="327" y="112"/>
                        <a:pt x="327" y="112"/>
                      </a:cubicBezTo>
                      <a:cubicBezTo>
                        <a:pt x="331" y="119"/>
                        <a:pt x="340" y="110"/>
                        <a:pt x="349" y="123"/>
                      </a:cubicBezTo>
                      <a:cubicBezTo>
                        <a:pt x="369" y="122"/>
                        <a:pt x="363" y="137"/>
                        <a:pt x="363" y="137"/>
                      </a:cubicBezTo>
                      <a:cubicBezTo>
                        <a:pt x="368" y="158"/>
                        <a:pt x="383" y="152"/>
                        <a:pt x="383" y="152"/>
                      </a:cubicBezTo>
                      <a:cubicBezTo>
                        <a:pt x="393" y="146"/>
                        <a:pt x="393" y="160"/>
                        <a:pt x="393" y="160"/>
                      </a:cubicBezTo>
                      <a:cubicBezTo>
                        <a:pt x="400" y="187"/>
                        <a:pt x="390" y="185"/>
                        <a:pt x="390" y="185"/>
                      </a:cubicBezTo>
                      <a:cubicBezTo>
                        <a:pt x="375" y="183"/>
                        <a:pt x="383" y="198"/>
                        <a:pt x="383" y="198"/>
                      </a:cubicBezTo>
                      <a:cubicBezTo>
                        <a:pt x="392" y="203"/>
                        <a:pt x="380" y="216"/>
                        <a:pt x="380" y="216"/>
                      </a:cubicBezTo>
                      <a:cubicBezTo>
                        <a:pt x="373" y="224"/>
                        <a:pt x="359" y="221"/>
                        <a:pt x="359" y="221"/>
                      </a:cubicBezTo>
                      <a:cubicBezTo>
                        <a:pt x="329" y="211"/>
                        <a:pt x="343" y="246"/>
                        <a:pt x="343" y="246"/>
                      </a:cubicBezTo>
                      <a:cubicBezTo>
                        <a:pt x="333" y="251"/>
                        <a:pt x="322" y="243"/>
                        <a:pt x="315" y="250"/>
                      </a:cubicBezTo>
                      <a:cubicBezTo>
                        <a:pt x="311" y="254"/>
                        <a:pt x="298" y="251"/>
                        <a:pt x="285" y="265"/>
                      </a:cubicBezTo>
                      <a:cubicBezTo>
                        <a:pt x="272" y="264"/>
                        <a:pt x="270" y="284"/>
                        <a:pt x="270" y="284"/>
                      </a:cubicBezTo>
                      <a:cubicBezTo>
                        <a:pt x="256" y="298"/>
                        <a:pt x="266" y="301"/>
                        <a:pt x="266" y="301"/>
                      </a:cubicBezTo>
                      <a:cubicBezTo>
                        <a:pt x="270" y="314"/>
                        <a:pt x="263" y="321"/>
                        <a:pt x="263" y="321"/>
                      </a:cubicBezTo>
                      <a:cubicBezTo>
                        <a:pt x="263" y="321"/>
                        <a:pt x="260" y="331"/>
                        <a:pt x="242" y="318"/>
                      </a:cubicBezTo>
                      <a:cubicBezTo>
                        <a:pt x="242" y="318"/>
                        <a:pt x="227" y="311"/>
                        <a:pt x="219" y="307"/>
                      </a:cubicBezTo>
                      <a:cubicBezTo>
                        <a:pt x="219" y="307"/>
                        <a:pt x="215" y="294"/>
                        <a:pt x="185" y="299"/>
                      </a:cubicBezTo>
                      <a:cubicBezTo>
                        <a:pt x="185" y="299"/>
                        <a:pt x="175" y="302"/>
                        <a:pt x="168" y="298"/>
                      </a:cubicBezTo>
                      <a:cubicBezTo>
                        <a:pt x="162" y="292"/>
                        <a:pt x="154" y="304"/>
                        <a:pt x="150" y="284"/>
                      </a:cubicBezTo>
                      <a:cubicBezTo>
                        <a:pt x="150" y="284"/>
                        <a:pt x="152" y="273"/>
                        <a:pt x="136" y="273"/>
                      </a:cubicBezTo>
                      <a:cubicBezTo>
                        <a:pt x="136" y="273"/>
                        <a:pt x="132" y="266"/>
                        <a:pt x="126" y="260"/>
                      </a:cubicBezTo>
                      <a:cubicBezTo>
                        <a:pt x="126" y="260"/>
                        <a:pt x="120" y="250"/>
                        <a:pt x="96" y="249"/>
                      </a:cubicBezTo>
                      <a:cubicBezTo>
                        <a:pt x="96" y="249"/>
                        <a:pt x="92" y="242"/>
                        <a:pt x="84" y="240"/>
                      </a:cubicBezTo>
                      <a:cubicBezTo>
                        <a:pt x="84" y="240"/>
                        <a:pt x="85" y="222"/>
                        <a:pt x="75" y="210"/>
                      </a:cubicBezTo>
                      <a:cubicBezTo>
                        <a:pt x="75" y="210"/>
                        <a:pt x="65" y="199"/>
                        <a:pt x="74" y="188"/>
                      </a:cubicBezTo>
                      <a:cubicBezTo>
                        <a:pt x="74" y="188"/>
                        <a:pt x="87" y="187"/>
                        <a:pt x="73" y="174"/>
                      </a:cubicBezTo>
                      <a:cubicBezTo>
                        <a:pt x="73" y="174"/>
                        <a:pt x="75" y="164"/>
                        <a:pt x="58" y="161"/>
                      </a:cubicBezTo>
                      <a:cubicBezTo>
                        <a:pt x="58" y="161"/>
                        <a:pt x="58" y="149"/>
                        <a:pt x="43" y="143"/>
                      </a:cubicBezTo>
                      <a:cubicBezTo>
                        <a:pt x="43" y="143"/>
                        <a:pt x="23" y="130"/>
                        <a:pt x="36" y="128"/>
                      </a:cubicBezTo>
                      <a:cubicBezTo>
                        <a:pt x="36" y="128"/>
                        <a:pt x="40" y="115"/>
                        <a:pt x="34" y="110"/>
                      </a:cubicBezTo>
                      <a:cubicBezTo>
                        <a:pt x="34" y="110"/>
                        <a:pt x="32" y="99"/>
                        <a:pt x="24" y="99"/>
                      </a:cubicBezTo>
                      <a:cubicBezTo>
                        <a:pt x="24" y="99"/>
                        <a:pt x="15" y="101"/>
                        <a:pt x="15" y="79"/>
                      </a:cubicBezTo>
                      <a:cubicBezTo>
                        <a:pt x="15" y="79"/>
                        <a:pt x="0" y="78"/>
                        <a:pt x="0" y="63"/>
                      </a:cubicBezTo>
                      <a:cubicBezTo>
                        <a:pt x="0" y="63"/>
                        <a:pt x="5" y="58"/>
                        <a:pt x="3" y="46"/>
                      </a:cubicBezTo>
                      <a:cubicBezTo>
                        <a:pt x="3" y="46"/>
                        <a:pt x="14" y="51"/>
                        <a:pt x="22" y="38"/>
                      </a:cubicBezTo>
                      <a:cubicBezTo>
                        <a:pt x="22" y="38"/>
                        <a:pt x="34" y="28"/>
                        <a:pt x="44" y="38"/>
                      </a:cubicBezTo>
                      <a:cubicBezTo>
                        <a:pt x="44" y="38"/>
                        <a:pt x="54" y="47"/>
                        <a:pt x="76" y="38"/>
                      </a:cubicBezTo>
                      <a:cubicBezTo>
                        <a:pt x="76" y="38"/>
                        <a:pt x="87" y="41"/>
                        <a:pt x="96" y="27"/>
                      </a:cubicBezTo>
                      <a:cubicBezTo>
                        <a:pt x="96" y="27"/>
                        <a:pt x="109" y="17"/>
                        <a:pt x="109" y="9"/>
                      </a:cubicBezTo>
                      <a:cubicBezTo>
                        <a:pt x="123" y="16"/>
                        <a:pt x="126" y="9"/>
                        <a:pt x="126" y="9"/>
                      </a:cubicBezTo>
                      <a:cubicBezTo>
                        <a:pt x="132" y="2"/>
                        <a:pt x="146" y="13"/>
                        <a:pt x="146" y="13"/>
                      </a:cubicBezTo>
                      <a:cubicBezTo>
                        <a:pt x="150" y="16"/>
                        <a:pt x="175" y="12"/>
                        <a:pt x="181" y="16"/>
                      </a:cubicBezTo>
                      <a:cubicBezTo>
                        <a:pt x="198" y="20"/>
                        <a:pt x="198" y="13"/>
                        <a:pt x="198" y="13"/>
                      </a:cubicBezTo>
                      <a:cubicBezTo>
                        <a:pt x="206" y="0"/>
                        <a:pt x="214" y="13"/>
                        <a:pt x="214" y="13"/>
                      </a:cubicBezTo>
                      <a:cubicBezTo>
                        <a:pt x="224" y="22"/>
                        <a:pt x="229" y="13"/>
                        <a:pt x="229" y="13"/>
                      </a:cubicBezTo>
                      <a:cubicBezTo>
                        <a:pt x="230" y="2"/>
                        <a:pt x="246" y="3"/>
                        <a:pt x="246" y="3"/>
                      </a:cubicBezTo>
                      <a:cubicBezTo>
                        <a:pt x="245" y="27"/>
                        <a:pt x="256" y="30"/>
                        <a:pt x="256" y="30"/>
                      </a:cubicBezTo>
                      <a:cubicBezTo>
                        <a:pt x="263" y="38"/>
                        <a:pt x="264" y="52"/>
                        <a:pt x="264" y="52"/>
                      </a:cubicBezTo>
                      <a:cubicBezTo>
                        <a:pt x="271" y="49"/>
                        <a:pt x="271" y="59"/>
                        <a:pt x="271" y="59"/>
                      </a:cubicBezTo>
                      <a:cubicBezTo>
                        <a:pt x="284" y="64"/>
                        <a:pt x="274" y="68"/>
                        <a:pt x="274" y="68"/>
                      </a:cubicBezTo>
                      <a:cubicBezTo>
                        <a:pt x="269" y="79"/>
                        <a:pt x="282" y="78"/>
                        <a:pt x="282" y="78"/>
                      </a:cubicBezTo>
                      <a:cubicBezTo>
                        <a:pt x="296" y="80"/>
                        <a:pt x="303" y="71"/>
                        <a:pt x="303" y="71"/>
                      </a:cubicBezTo>
                      <a:cubicBezTo>
                        <a:pt x="315" y="64"/>
                        <a:pt x="326" y="70"/>
                        <a:pt x="326" y="70"/>
                      </a:cubicBezTo>
                      <a:cubicBezTo>
                        <a:pt x="326" y="70"/>
                        <a:pt x="326" y="70"/>
                        <a:pt x="326" y="70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1" name="Freeform 45"/>
                <p:cNvSpPr>
                  <a:spLocks/>
                </p:cNvSpPr>
                <p:nvPr/>
              </p:nvSpPr>
              <p:spPr bwMode="auto">
                <a:xfrm>
                  <a:off x="4581265" y="2977355"/>
                  <a:ext cx="1090231" cy="921620"/>
                </a:xfrm>
                <a:custGeom>
                  <a:avLst/>
                  <a:gdLst/>
                  <a:ahLst/>
                  <a:cxnLst>
                    <a:cxn ang="0">
                      <a:pos x="102" y="33"/>
                    </a:cxn>
                    <a:cxn ang="0">
                      <a:pos x="79" y="45"/>
                    </a:cxn>
                    <a:cxn ang="0">
                      <a:pos x="51" y="61"/>
                    </a:cxn>
                    <a:cxn ang="0">
                      <a:pos x="32" y="69"/>
                    </a:cxn>
                    <a:cxn ang="0">
                      <a:pos x="14" y="77"/>
                    </a:cxn>
                    <a:cxn ang="0">
                      <a:pos x="12" y="100"/>
                    </a:cxn>
                    <a:cxn ang="0">
                      <a:pos x="15" y="120"/>
                    </a:cxn>
                    <a:cxn ang="0">
                      <a:pos x="37" y="131"/>
                    </a:cxn>
                    <a:cxn ang="0">
                      <a:pos x="51" y="145"/>
                    </a:cxn>
                    <a:cxn ang="0">
                      <a:pos x="71" y="160"/>
                    </a:cxn>
                    <a:cxn ang="0">
                      <a:pos x="81" y="168"/>
                    </a:cxn>
                    <a:cxn ang="0">
                      <a:pos x="78" y="193"/>
                    </a:cxn>
                    <a:cxn ang="0">
                      <a:pos x="71" y="206"/>
                    </a:cxn>
                    <a:cxn ang="0">
                      <a:pos x="68" y="224"/>
                    </a:cxn>
                    <a:cxn ang="0">
                      <a:pos x="47" y="229"/>
                    </a:cxn>
                    <a:cxn ang="0">
                      <a:pos x="31" y="254"/>
                    </a:cxn>
                    <a:cxn ang="0">
                      <a:pos x="64" y="265"/>
                    </a:cxn>
                    <a:cxn ang="0">
                      <a:pos x="102" y="287"/>
                    </a:cxn>
                    <a:cxn ang="0">
                      <a:pos x="132" y="287"/>
                    </a:cxn>
                    <a:cxn ang="0">
                      <a:pos x="157" y="303"/>
                    </a:cxn>
                    <a:cxn ang="0">
                      <a:pos x="175" y="321"/>
                    </a:cxn>
                    <a:cxn ang="0">
                      <a:pos x="185" y="333"/>
                    </a:cxn>
                    <a:cxn ang="0">
                      <a:pos x="195" y="349"/>
                    </a:cxn>
                    <a:cxn ang="0">
                      <a:pos x="208" y="349"/>
                    </a:cxn>
                    <a:cxn ang="0">
                      <a:pos x="228" y="339"/>
                    </a:cxn>
                    <a:cxn ang="0">
                      <a:pos x="245" y="338"/>
                    </a:cxn>
                    <a:cxn ang="0">
                      <a:pos x="241" y="316"/>
                    </a:cxn>
                    <a:cxn ang="0">
                      <a:pos x="254" y="310"/>
                    </a:cxn>
                    <a:cxn ang="0">
                      <a:pos x="263" y="303"/>
                    </a:cxn>
                    <a:cxn ang="0">
                      <a:pos x="278" y="309"/>
                    </a:cxn>
                    <a:cxn ang="0">
                      <a:pos x="284" y="298"/>
                    </a:cxn>
                    <a:cxn ang="0">
                      <a:pos x="296" y="299"/>
                    </a:cxn>
                    <a:cxn ang="0">
                      <a:pos x="304" y="282"/>
                    </a:cxn>
                    <a:cxn ang="0">
                      <a:pos x="310" y="267"/>
                    </a:cxn>
                    <a:cxn ang="0">
                      <a:pos x="328" y="245"/>
                    </a:cxn>
                    <a:cxn ang="0">
                      <a:pos x="343" y="231"/>
                    </a:cxn>
                    <a:cxn ang="0">
                      <a:pos x="332" y="226"/>
                    </a:cxn>
                    <a:cxn ang="0">
                      <a:pos x="348" y="221"/>
                    </a:cxn>
                    <a:cxn ang="0">
                      <a:pos x="371" y="218"/>
                    </a:cxn>
                    <a:cxn ang="0">
                      <a:pos x="373" y="200"/>
                    </a:cxn>
                    <a:cxn ang="0">
                      <a:pos x="373" y="169"/>
                    </a:cxn>
                    <a:cxn ang="0">
                      <a:pos x="376" y="153"/>
                    </a:cxn>
                    <a:cxn ang="0">
                      <a:pos x="380" y="134"/>
                    </a:cxn>
                    <a:cxn ang="0">
                      <a:pos x="377" y="120"/>
                    </a:cxn>
                    <a:cxn ang="0">
                      <a:pos x="384" y="103"/>
                    </a:cxn>
                    <a:cxn ang="0">
                      <a:pos x="381" y="87"/>
                    </a:cxn>
                    <a:cxn ang="0">
                      <a:pos x="374" y="80"/>
                    </a:cxn>
                    <a:cxn ang="0">
                      <a:pos x="346" y="65"/>
                    </a:cxn>
                    <a:cxn ang="0">
                      <a:pos x="328" y="41"/>
                    </a:cxn>
                    <a:cxn ang="0">
                      <a:pos x="318" y="21"/>
                    </a:cxn>
                    <a:cxn ang="0">
                      <a:pos x="308" y="8"/>
                    </a:cxn>
                    <a:cxn ang="0">
                      <a:pos x="292" y="3"/>
                    </a:cxn>
                    <a:cxn ang="0">
                      <a:pos x="259" y="22"/>
                    </a:cxn>
                    <a:cxn ang="0">
                      <a:pos x="230" y="35"/>
                    </a:cxn>
                    <a:cxn ang="0">
                      <a:pos x="219" y="45"/>
                    </a:cxn>
                    <a:cxn ang="0">
                      <a:pos x="203" y="45"/>
                    </a:cxn>
                    <a:cxn ang="0">
                      <a:pos x="184" y="39"/>
                    </a:cxn>
                    <a:cxn ang="0">
                      <a:pos x="166" y="30"/>
                    </a:cxn>
                    <a:cxn ang="0">
                      <a:pos x="141" y="14"/>
                    </a:cxn>
                    <a:cxn ang="0">
                      <a:pos x="112" y="25"/>
                    </a:cxn>
                    <a:cxn ang="0">
                      <a:pos x="102" y="33"/>
                    </a:cxn>
                    <a:cxn ang="0">
                      <a:pos x="102" y="33"/>
                    </a:cxn>
                  </a:cxnLst>
                  <a:rect l="0" t="0" r="r" b="b"/>
                  <a:pathLst>
                    <a:path w="385" h="369">
                      <a:moveTo>
                        <a:pt x="102" y="33"/>
                      </a:moveTo>
                      <a:cubicBezTo>
                        <a:pt x="102" y="47"/>
                        <a:pt x="83" y="39"/>
                        <a:pt x="79" y="45"/>
                      </a:cubicBezTo>
                      <a:cubicBezTo>
                        <a:pt x="75" y="39"/>
                        <a:pt x="54" y="46"/>
                        <a:pt x="51" y="61"/>
                      </a:cubicBezTo>
                      <a:cubicBezTo>
                        <a:pt x="51" y="61"/>
                        <a:pt x="37" y="57"/>
                        <a:pt x="32" y="69"/>
                      </a:cubicBezTo>
                      <a:cubicBezTo>
                        <a:pt x="32" y="69"/>
                        <a:pt x="21" y="68"/>
                        <a:pt x="14" y="77"/>
                      </a:cubicBezTo>
                      <a:cubicBezTo>
                        <a:pt x="17" y="91"/>
                        <a:pt x="12" y="100"/>
                        <a:pt x="12" y="100"/>
                      </a:cubicBezTo>
                      <a:cubicBezTo>
                        <a:pt x="0" y="116"/>
                        <a:pt x="15" y="120"/>
                        <a:pt x="15" y="120"/>
                      </a:cubicBezTo>
                      <a:cubicBezTo>
                        <a:pt x="19" y="127"/>
                        <a:pt x="28" y="118"/>
                        <a:pt x="37" y="131"/>
                      </a:cubicBezTo>
                      <a:cubicBezTo>
                        <a:pt x="57" y="130"/>
                        <a:pt x="51" y="145"/>
                        <a:pt x="51" y="145"/>
                      </a:cubicBezTo>
                      <a:cubicBezTo>
                        <a:pt x="56" y="166"/>
                        <a:pt x="71" y="160"/>
                        <a:pt x="71" y="160"/>
                      </a:cubicBezTo>
                      <a:cubicBezTo>
                        <a:pt x="81" y="154"/>
                        <a:pt x="81" y="168"/>
                        <a:pt x="81" y="168"/>
                      </a:cubicBezTo>
                      <a:cubicBezTo>
                        <a:pt x="88" y="195"/>
                        <a:pt x="78" y="193"/>
                        <a:pt x="78" y="193"/>
                      </a:cubicBezTo>
                      <a:cubicBezTo>
                        <a:pt x="63" y="191"/>
                        <a:pt x="71" y="206"/>
                        <a:pt x="71" y="206"/>
                      </a:cubicBezTo>
                      <a:cubicBezTo>
                        <a:pt x="80" y="211"/>
                        <a:pt x="68" y="224"/>
                        <a:pt x="68" y="224"/>
                      </a:cubicBezTo>
                      <a:cubicBezTo>
                        <a:pt x="61" y="232"/>
                        <a:pt x="47" y="229"/>
                        <a:pt x="47" y="229"/>
                      </a:cubicBezTo>
                      <a:cubicBezTo>
                        <a:pt x="17" y="219"/>
                        <a:pt x="31" y="254"/>
                        <a:pt x="31" y="254"/>
                      </a:cubicBezTo>
                      <a:cubicBezTo>
                        <a:pt x="33" y="259"/>
                        <a:pt x="54" y="250"/>
                        <a:pt x="64" y="265"/>
                      </a:cubicBezTo>
                      <a:cubicBezTo>
                        <a:pt x="82" y="281"/>
                        <a:pt x="90" y="290"/>
                        <a:pt x="102" y="287"/>
                      </a:cubicBezTo>
                      <a:cubicBezTo>
                        <a:pt x="116" y="289"/>
                        <a:pt x="132" y="287"/>
                        <a:pt x="132" y="287"/>
                      </a:cubicBezTo>
                      <a:cubicBezTo>
                        <a:pt x="159" y="271"/>
                        <a:pt x="157" y="303"/>
                        <a:pt x="157" y="303"/>
                      </a:cubicBezTo>
                      <a:cubicBezTo>
                        <a:pt x="180" y="313"/>
                        <a:pt x="175" y="321"/>
                        <a:pt x="175" y="321"/>
                      </a:cubicBezTo>
                      <a:cubicBezTo>
                        <a:pt x="178" y="332"/>
                        <a:pt x="185" y="333"/>
                        <a:pt x="185" y="333"/>
                      </a:cubicBezTo>
                      <a:cubicBezTo>
                        <a:pt x="197" y="338"/>
                        <a:pt x="195" y="349"/>
                        <a:pt x="195" y="349"/>
                      </a:cubicBezTo>
                      <a:cubicBezTo>
                        <a:pt x="197" y="369"/>
                        <a:pt x="208" y="349"/>
                        <a:pt x="208" y="349"/>
                      </a:cubicBezTo>
                      <a:cubicBezTo>
                        <a:pt x="215" y="330"/>
                        <a:pt x="228" y="339"/>
                        <a:pt x="228" y="339"/>
                      </a:cubicBezTo>
                      <a:cubicBezTo>
                        <a:pt x="230" y="348"/>
                        <a:pt x="245" y="338"/>
                        <a:pt x="245" y="338"/>
                      </a:cubicBezTo>
                      <a:cubicBezTo>
                        <a:pt x="248" y="321"/>
                        <a:pt x="240" y="325"/>
                        <a:pt x="241" y="316"/>
                      </a:cubicBezTo>
                      <a:cubicBezTo>
                        <a:pt x="241" y="316"/>
                        <a:pt x="239" y="303"/>
                        <a:pt x="254" y="310"/>
                      </a:cubicBezTo>
                      <a:cubicBezTo>
                        <a:pt x="259" y="313"/>
                        <a:pt x="260" y="304"/>
                        <a:pt x="263" y="303"/>
                      </a:cubicBezTo>
                      <a:cubicBezTo>
                        <a:pt x="263" y="303"/>
                        <a:pt x="270" y="309"/>
                        <a:pt x="278" y="309"/>
                      </a:cubicBezTo>
                      <a:cubicBezTo>
                        <a:pt x="278" y="309"/>
                        <a:pt x="273" y="303"/>
                        <a:pt x="284" y="298"/>
                      </a:cubicBezTo>
                      <a:cubicBezTo>
                        <a:pt x="284" y="298"/>
                        <a:pt x="290" y="292"/>
                        <a:pt x="296" y="299"/>
                      </a:cubicBezTo>
                      <a:cubicBezTo>
                        <a:pt x="296" y="299"/>
                        <a:pt x="291" y="288"/>
                        <a:pt x="304" y="282"/>
                      </a:cubicBezTo>
                      <a:cubicBezTo>
                        <a:pt x="304" y="282"/>
                        <a:pt x="316" y="278"/>
                        <a:pt x="310" y="267"/>
                      </a:cubicBezTo>
                      <a:cubicBezTo>
                        <a:pt x="310" y="267"/>
                        <a:pt x="310" y="259"/>
                        <a:pt x="328" y="245"/>
                      </a:cubicBezTo>
                      <a:cubicBezTo>
                        <a:pt x="328" y="245"/>
                        <a:pt x="343" y="240"/>
                        <a:pt x="343" y="231"/>
                      </a:cubicBezTo>
                      <a:cubicBezTo>
                        <a:pt x="343" y="224"/>
                        <a:pt x="329" y="232"/>
                        <a:pt x="332" y="226"/>
                      </a:cubicBezTo>
                      <a:cubicBezTo>
                        <a:pt x="332" y="226"/>
                        <a:pt x="337" y="212"/>
                        <a:pt x="348" y="221"/>
                      </a:cubicBezTo>
                      <a:cubicBezTo>
                        <a:pt x="348" y="221"/>
                        <a:pt x="364" y="223"/>
                        <a:pt x="371" y="218"/>
                      </a:cubicBezTo>
                      <a:cubicBezTo>
                        <a:pt x="371" y="218"/>
                        <a:pt x="383" y="203"/>
                        <a:pt x="373" y="200"/>
                      </a:cubicBezTo>
                      <a:cubicBezTo>
                        <a:pt x="373" y="200"/>
                        <a:pt x="368" y="193"/>
                        <a:pt x="373" y="169"/>
                      </a:cubicBezTo>
                      <a:cubicBezTo>
                        <a:pt x="373" y="169"/>
                        <a:pt x="382" y="163"/>
                        <a:pt x="376" y="153"/>
                      </a:cubicBezTo>
                      <a:cubicBezTo>
                        <a:pt x="369" y="142"/>
                        <a:pt x="385" y="141"/>
                        <a:pt x="380" y="134"/>
                      </a:cubicBezTo>
                      <a:cubicBezTo>
                        <a:pt x="380" y="134"/>
                        <a:pt x="373" y="128"/>
                        <a:pt x="377" y="120"/>
                      </a:cubicBezTo>
                      <a:cubicBezTo>
                        <a:pt x="381" y="118"/>
                        <a:pt x="376" y="110"/>
                        <a:pt x="384" y="103"/>
                      </a:cubicBezTo>
                      <a:cubicBezTo>
                        <a:pt x="384" y="103"/>
                        <a:pt x="376" y="96"/>
                        <a:pt x="381" y="87"/>
                      </a:cubicBezTo>
                      <a:cubicBezTo>
                        <a:pt x="376" y="87"/>
                        <a:pt x="374" y="80"/>
                        <a:pt x="374" y="80"/>
                      </a:cubicBezTo>
                      <a:cubicBezTo>
                        <a:pt x="363" y="63"/>
                        <a:pt x="346" y="65"/>
                        <a:pt x="346" y="65"/>
                      </a:cubicBezTo>
                      <a:cubicBezTo>
                        <a:pt x="336" y="46"/>
                        <a:pt x="328" y="41"/>
                        <a:pt x="328" y="41"/>
                      </a:cubicBezTo>
                      <a:cubicBezTo>
                        <a:pt x="330" y="17"/>
                        <a:pt x="318" y="21"/>
                        <a:pt x="318" y="21"/>
                      </a:cubicBezTo>
                      <a:cubicBezTo>
                        <a:pt x="307" y="17"/>
                        <a:pt x="308" y="8"/>
                        <a:pt x="308" y="8"/>
                      </a:cubicBezTo>
                      <a:cubicBezTo>
                        <a:pt x="307" y="0"/>
                        <a:pt x="292" y="3"/>
                        <a:pt x="292" y="3"/>
                      </a:cubicBezTo>
                      <a:cubicBezTo>
                        <a:pt x="270" y="28"/>
                        <a:pt x="259" y="22"/>
                        <a:pt x="259" y="22"/>
                      </a:cubicBezTo>
                      <a:cubicBezTo>
                        <a:pt x="241" y="19"/>
                        <a:pt x="230" y="35"/>
                        <a:pt x="230" y="35"/>
                      </a:cubicBezTo>
                      <a:cubicBezTo>
                        <a:pt x="216" y="39"/>
                        <a:pt x="219" y="45"/>
                        <a:pt x="219" y="45"/>
                      </a:cubicBezTo>
                      <a:cubicBezTo>
                        <a:pt x="208" y="57"/>
                        <a:pt x="203" y="45"/>
                        <a:pt x="203" y="45"/>
                      </a:cubicBezTo>
                      <a:cubicBezTo>
                        <a:pt x="192" y="24"/>
                        <a:pt x="184" y="39"/>
                        <a:pt x="184" y="39"/>
                      </a:cubicBezTo>
                      <a:cubicBezTo>
                        <a:pt x="173" y="46"/>
                        <a:pt x="166" y="30"/>
                        <a:pt x="166" y="30"/>
                      </a:cubicBezTo>
                      <a:cubicBezTo>
                        <a:pt x="157" y="10"/>
                        <a:pt x="141" y="14"/>
                        <a:pt x="141" y="14"/>
                      </a:cubicBezTo>
                      <a:cubicBezTo>
                        <a:pt x="118" y="12"/>
                        <a:pt x="112" y="25"/>
                        <a:pt x="112" y="25"/>
                      </a:cubicBezTo>
                      <a:cubicBezTo>
                        <a:pt x="109" y="32"/>
                        <a:pt x="105" y="33"/>
                        <a:pt x="102" y="33"/>
                      </a:cubicBezTo>
                      <a:cubicBezTo>
                        <a:pt x="102" y="33"/>
                        <a:pt x="102" y="33"/>
                        <a:pt x="102" y="33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2" name="Freeform 44"/>
                <p:cNvSpPr>
                  <a:spLocks/>
                </p:cNvSpPr>
                <p:nvPr/>
              </p:nvSpPr>
              <p:spPr bwMode="auto">
                <a:xfrm>
                  <a:off x="5623858" y="3119556"/>
                  <a:ext cx="818013" cy="973938"/>
                </a:xfrm>
                <a:custGeom>
                  <a:avLst/>
                  <a:gdLst/>
                  <a:ahLst/>
                  <a:cxnLst>
                    <a:cxn ang="0">
                      <a:pos x="4" y="161"/>
                    </a:cxn>
                    <a:cxn ang="0">
                      <a:pos x="5" y="143"/>
                    </a:cxn>
                    <a:cxn ang="0">
                      <a:pos x="5" y="112"/>
                    </a:cxn>
                    <a:cxn ang="0">
                      <a:pos x="8" y="96"/>
                    </a:cxn>
                    <a:cxn ang="0">
                      <a:pos x="12" y="77"/>
                    </a:cxn>
                    <a:cxn ang="0">
                      <a:pos x="9" y="63"/>
                    </a:cxn>
                    <a:cxn ang="0">
                      <a:pos x="16" y="46"/>
                    </a:cxn>
                    <a:cxn ang="0">
                      <a:pos x="13" y="30"/>
                    </a:cxn>
                    <a:cxn ang="0">
                      <a:pos x="20" y="29"/>
                    </a:cxn>
                    <a:cxn ang="0">
                      <a:pos x="30" y="15"/>
                    </a:cxn>
                    <a:cxn ang="0">
                      <a:pos x="38" y="2"/>
                    </a:cxn>
                    <a:cxn ang="0">
                      <a:pos x="56" y="15"/>
                    </a:cxn>
                    <a:cxn ang="0">
                      <a:pos x="73" y="17"/>
                    </a:cxn>
                    <a:cxn ang="0">
                      <a:pos x="96" y="26"/>
                    </a:cxn>
                    <a:cxn ang="0">
                      <a:pos x="115" y="33"/>
                    </a:cxn>
                    <a:cxn ang="0">
                      <a:pos x="137" y="33"/>
                    </a:cxn>
                    <a:cxn ang="0">
                      <a:pos x="155" y="36"/>
                    </a:cxn>
                    <a:cxn ang="0">
                      <a:pos x="176" y="45"/>
                    </a:cxn>
                    <a:cxn ang="0">
                      <a:pos x="192" y="46"/>
                    </a:cxn>
                    <a:cxn ang="0">
                      <a:pos x="201" y="56"/>
                    </a:cxn>
                    <a:cxn ang="0">
                      <a:pos x="221" y="67"/>
                    </a:cxn>
                    <a:cxn ang="0">
                      <a:pos x="242" y="68"/>
                    </a:cxn>
                    <a:cxn ang="0">
                      <a:pos x="260" y="58"/>
                    </a:cxn>
                    <a:cxn ang="0">
                      <a:pos x="261" y="72"/>
                    </a:cxn>
                    <a:cxn ang="0">
                      <a:pos x="265" y="98"/>
                    </a:cxn>
                    <a:cxn ang="0">
                      <a:pos x="258" y="146"/>
                    </a:cxn>
                    <a:cxn ang="0">
                      <a:pos x="235" y="165"/>
                    </a:cxn>
                    <a:cxn ang="0">
                      <a:pos x="232" y="183"/>
                    </a:cxn>
                    <a:cxn ang="0">
                      <a:pos x="251" y="191"/>
                    </a:cxn>
                    <a:cxn ang="0">
                      <a:pos x="262" y="195"/>
                    </a:cxn>
                    <a:cxn ang="0">
                      <a:pos x="269" y="202"/>
                    </a:cxn>
                    <a:cxn ang="0">
                      <a:pos x="254" y="205"/>
                    </a:cxn>
                    <a:cxn ang="0">
                      <a:pos x="236" y="213"/>
                    </a:cxn>
                    <a:cxn ang="0">
                      <a:pos x="232" y="238"/>
                    </a:cxn>
                    <a:cxn ang="0">
                      <a:pos x="243" y="249"/>
                    </a:cxn>
                    <a:cxn ang="0">
                      <a:pos x="259" y="268"/>
                    </a:cxn>
                    <a:cxn ang="0">
                      <a:pos x="265" y="290"/>
                    </a:cxn>
                    <a:cxn ang="0">
                      <a:pos x="269" y="297"/>
                    </a:cxn>
                    <a:cxn ang="0">
                      <a:pos x="269" y="319"/>
                    </a:cxn>
                    <a:cxn ang="0">
                      <a:pos x="262" y="364"/>
                    </a:cxn>
                    <a:cxn ang="0">
                      <a:pos x="247" y="386"/>
                    </a:cxn>
                    <a:cxn ang="0">
                      <a:pos x="194" y="389"/>
                    </a:cxn>
                    <a:cxn ang="0">
                      <a:pos x="170" y="390"/>
                    </a:cxn>
                    <a:cxn ang="0">
                      <a:pos x="170" y="390"/>
                    </a:cxn>
                    <a:cxn ang="0">
                      <a:pos x="170" y="378"/>
                    </a:cxn>
                    <a:cxn ang="0">
                      <a:pos x="170" y="378"/>
                    </a:cxn>
                    <a:cxn ang="0">
                      <a:pos x="154" y="362"/>
                    </a:cxn>
                    <a:cxn ang="0">
                      <a:pos x="137" y="356"/>
                    </a:cxn>
                    <a:cxn ang="0">
                      <a:pos x="111" y="343"/>
                    </a:cxn>
                    <a:cxn ang="0">
                      <a:pos x="89" y="304"/>
                    </a:cxn>
                    <a:cxn ang="0">
                      <a:pos x="73" y="295"/>
                    </a:cxn>
                    <a:cxn ang="0">
                      <a:pos x="64" y="272"/>
                    </a:cxn>
                    <a:cxn ang="0">
                      <a:pos x="62" y="251"/>
                    </a:cxn>
                    <a:cxn ang="0">
                      <a:pos x="60" y="238"/>
                    </a:cxn>
                    <a:cxn ang="0">
                      <a:pos x="53" y="222"/>
                    </a:cxn>
                    <a:cxn ang="0">
                      <a:pos x="39" y="209"/>
                    </a:cxn>
                    <a:cxn ang="0">
                      <a:pos x="30" y="201"/>
                    </a:cxn>
                    <a:cxn ang="0">
                      <a:pos x="30" y="185"/>
                    </a:cxn>
                    <a:cxn ang="0">
                      <a:pos x="19" y="173"/>
                    </a:cxn>
                    <a:cxn ang="0">
                      <a:pos x="10" y="169"/>
                    </a:cxn>
                    <a:cxn ang="0">
                      <a:pos x="4" y="161"/>
                    </a:cxn>
                    <a:cxn ang="0">
                      <a:pos x="4" y="161"/>
                    </a:cxn>
                  </a:cxnLst>
                  <a:rect l="0" t="0" r="r" b="b"/>
                  <a:pathLst>
                    <a:path w="289" h="390">
                      <a:moveTo>
                        <a:pt x="4" y="161"/>
                      </a:moveTo>
                      <a:cubicBezTo>
                        <a:pt x="4" y="161"/>
                        <a:pt x="15" y="146"/>
                        <a:pt x="5" y="143"/>
                      </a:cubicBezTo>
                      <a:cubicBezTo>
                        <a:pt x="5" y="143"/>
                        <a:pt x="0" y="136"/>
                        <a:pt x="5" y="112"/>
                      </a:cubicBezTo>
                      <a:cubicBezTo>
                        <a:pt x="5" y="112"/>
                        <a:pt x="14" y="106"/>
                        <a:pt x="8" y="96"/>
                      </a:cubicBezTo>
                      <a:cubicBezTo>
                        <a:pt x="1" y="85"/>
                        <a:pt x="17" y="84"/>
                        <a:pt x="12" y="77"/>
                      </a:cubicBezTo>
                      <a:cubicBezTo>
                        <a:pt x="12" y="77"/>
                        <a:pt x="5" y="71"/>
                        <a:pt x="9" y="63"/>
                      </a:cubicBezTo>
                      <a:cubicBezTo>
                        <a:pt x="13" y="61"/>
                        <a:pt x="8" y="53"/>
                        <a:pt x="16" y="46"/>
                      </a:cubicBezTo>
                      <a:cubicBezTo>
                        <a:pt x="16" y="46"/>
                        <a:pt x="8" y="39"/>
                        <a:pt x="13" y="30"/>
                      </a:cubicBezTo>
                      <a:cubicBezTo>
                        <a:pt x="16" y="31"/>
                        <a:pt x="18" y="30"/>
                        <a:pt x="20" y="29"/>
                      </a:cubicBezTo>
                      <a:cubicBezTo>
                        <a:pt x="20" y="29"/>
                        <a:pt x="31" y="32"/>
                        <a:pt x="30" y="15"/>
                      </a:cubicBezTo>
                      <a:cubicBezTo>
                        <a:pt x="30" y="15"/>
                        <a:pt x="25" y="1"/>
                        <a:pt x="38" y="2"/>
                      </a:cubicBezTo>
                      <a:cubicBezTo>
                        <a:pt x="49" y="0"/>
                        <a:pt x="44" y="11"/>
                        <a:pt x="56" y="15"/>
                      </a:cubicBezTo>
                      <a:cubicBezTo>
                        <a:pt x="56" y="15"/>
                        <a:pt x="67" y="21"/>
                        <a:pt x="73" y="17"/>
                      </a:cubicBezTo>
                      <a:cubicBezTo>
                        <a:pt x="73" y="17"/>
                        <a:pt x="87" y="11"/>
                        <a:pt x="96" y="26"/>
                      </a:cubicBezTo>
                      <a:cubicBezTo>
                        <a:pt x="96" y="26"/>
                        <a:pt x="115" y="28"/>
                        <a:pt x="115" y="33"/>
                      </a:cubicBezTo>
                      <a:cubicBezTo>
                        <a:pt x="115" y="33"/>
                        <a:pt x="126" y="47"/>
                        <a:pt x="137" y="33"/>
                      </a:cubicBezTo>
                      <a:cubicBezTo>
                        <a:pt x="137" y="33"/>
                        <a:pt x="145" y="8"/>
                        <a:pt x="155" y="36"/>
                      </a:cubicBezTo>
                      <a:cubicBezTo>
                        <a:pt x="155" y="36"/>
                        <a:pt x="160" y="52"/>
                        <a:pt x="176" y="45"/>
                      </a:cubicBezTo>
                      <a:cubicBezTo>
                        <a:pt x="176" y="45"/>
                        <a:pt x="181" y="39"/>
                        <a:pt x="192" y="46"/>
                      </a:cubicBezTo>
                      <a:cubicBezTo>
                        <a:pt x="192" y="46"/>
                        <a:pt x="203" y="43"/>
                        <a:pt x="201" y="56"/>
                      </a:cubicBezTo>
                      <a:cubicBezTo>
                        <a:pt x="201" y="56"/>
                        <a:pt x="204" y="70"/>
                        <a:pt x="221" y="67"/>
                      </a:cubicBezTo>
                      <a:cubicBezTo>
                        <a:pt x="221" y="67"/>
                        <a:pt x="226" y="81"/>
                        <a:pt x="242" y="68"/>
                      </a:cubicBezTo>
                      <a:cubicBezTo>
                        <a:pt x="242" y="68"/>
                        <a:pt x="245" y="57"/>
                        <a:pt x="260" y="58"/>
                      </a:cubicBezTo>
                      <a:cubicBezTo>
                        <a:pt x="260" y="58"/>
                        <a:pt x="276" y="61"/>
                        <a:pt x="261" y="72"/>
                      </a:cubicBezTo>
                      <a:cubicBezTo>
                        <a:pt x="261" y="72"/>
                        <a:pt x="245" y="77"/>
                        <a:pt x="265" y="98"/>
                      </a:cubicBezTo>
                      <a:cubicBezTo>
                        <a:pt x="265" y="98"/>
                        <a:pt x="288" y="117"/>
                        <a:pt x="258" y="146"/>
                      </a:cubicBezTo>
                      <a:cubicBezTo>
                        <a:pt x="255" y="170"/>
                        <a:pt x="240" y="158"/>
                        <a:pt x="235" y="165"/>
                      </a:cubicBezTo>
                      <a:cubicBezTo>
                        <a:pt x="235" y="165"/>
                        <a:pt x="219" y="168"/>
                        <a:pt x="232" y="183"/>
                      </a:cubicBezTo>
                      <a:cubicBezTo>
                        <a:pt x="232" y="183"/>
                        <a:pt x="231" y="194"/>
                        <a:pt x="251" y="191"/>
                      </a:cubicBezTo>
                      <a:cubicBezTo>
                        <a:pt x="251" y="191"/>
                        <a:pt x="257" y="191"/>
                        <a:pt x="262" y="195"/>
                      </a:cubicBezTo>
                      <a:cubicBezTo>
                        <a:pt x="273" y="181"/>
                        <a:pt x="280" y="194"/>
                        <a:pt x="269" y="202"/>
                      </a:cubicBezTo>
                      <a:cubicBezTo>
                        <a:pt x="269" y="202"/>
                        <a:pt x="272" y="209"/>
                        <a:pt x="254" y="205"/>
                      </a:cubicBezTo>
                      <a:cubicBezTo>
                        <a:pt x="254" y="205"/>
                        <a:pt x="245" y="197"/>
                        <a:pt x="236" y="213"/>
                      </a:cubicBezTo>
                      <a:cubicBezTo>
                        <a:pt x="236" y="213"/>
                        <a:pt x="232" y="224"/>
                        <a:pt x="232" y="238"/>
                      </a:cubicBezTo>
                      <a:cubicBezTo>
                        <a:pt x="232" y="238"/>
                        <a:pt x="226" y="252"/>
                        <a:pt x="243" y="249"/>
                      </a:cubicBezTo>
                      <a:cubicBezTo>
                        <a:pt x="243" y="249"/>
                        <a:pt x="259" y="244"/>
                        <a:pt x="259" y="268"/>
                      </a:cubicBezTo>
                      <a:cubicBezTo>
                        <a:pt x="259" y="268"/>
                        <a:pt x="271" y="285"/>
                        <a:pt x="265" y="290"/>
                      </a:cubicBezTo>
                      <a:cubicBezTo>
                        <a:pt x="265" y="290"/>
                        <a:pt x="252" y="294"/>
                        <a:pt x="269" y="297"/>
                      </a:cubicBezTo>
                      <a:cubicBezTo>
                        <a:pt x="269" y="297"/>
                        <a:pt x="289" y="289"/>
                        <a:pt x="269" y="319"/>
                      </a:cubicBezTo>
                      <a:cubicBezTo>
                        <a:pt x="269" y="319"/>
                        <a:pt x="262" y="334"/>
                        <a:pt x="262" y="364"/>
                      </a:cubicBezTo>
                      <a:cubicBezTo>
                        <a:pt x="263" y="387"/>
                        <a:pt x="265" y="385"/>
                        <a:pt x="247" y="386"/>
                      </a:cubicBezTo>
                      <a:cubicBezTo>
                        <a:pt x="247" y="386"/>
                        <a:pt x="223" y="383"/>
                        <a:pt x="194" y="389"/>
                      </a:cubicBezTo>
                      <a:cubicBezTo>
                        <a:pt x="194" y="389"/>
                        <a:pt x="185" y="390"/>
                        <a:pt x="170" y="390"/>
                      </a:cubicBezTo>
                      <a:cubicBezTo>
                        <a:pt x="170" y="390"/>
                        <a:pt x="170" y="390"/>
                        <a:pt x="170" y="390"/>
                      </a:cubicBezTo>
                      <a:cubicBezTo>
                        <a:pt x="170" y="378"/>
                        <a:pt x="170" y="378"/>
                        <a:pt x="170" y="378"/>
                      </a:cubicBezTo>
                      <a:cubicBezTo>
                        <a:pt x="170" y="378"/>
                        <a:pt x="170" y="378"/>
                        <a:pt x="170" y="378"/>
                      </a:cubicBezTo>
                      <a:cubicBezTo>
                        <a:pt x="170" y="378"/>
                        <a:pt x="174" y="363"/>
                        <a:pt x="154" y="362"/>
                      </a:cubicBezTo>
                      <a:cubicBezTo>
                        <a:pt x="154" y="362"/>
                        <a:pt x="141" y="367"/>
                        <a:pt x="137" y="356"/>
                      </a:cubicBezTo>
                      <a:cubicBezTo>
                        <a:pt x="137" y="356"/>
                        <a:pt x="147" y="348"/>
                        <a:pt x="111" y="343"/>
                      </a:cubicBezTo>
                      <a:cubicBezTo>
                        <a:pt x="111" y="343"/>
                        <a:pt x="115" y="327"/>
                        <a:pt x="89" y="304"/>
                      </a:cubicBezTo>
                      <a:cubicBezTo>
                        <a:pt x="89" y="304"/>
                        <a:pt x="91" y="296"/>
                        <a:pt x="73" y="295"/>
                      </a:cubicBezTo>
                      <a:cubicBezTo>
                        <a:pt x="74" y="279"/>
                        <a:pt x="63" y="285"/>
                        <a:pt x="64" y="272"/>
                      </a:cubicBezTo>
                      <a:cubicBezTo>
                        <a:pt x="64" y="272"/>
                        <a:pt x="56" y="268"/>
                        <a:pt x="62" y="251"/>
                      </a:cubicBezTo>
                      <a:cubicBezTo>
                        <a:pt x="69" y="247"/>
                        <a:pt x="56" y="243"/>
                        <a:pt x="60" y="238"/>
                      </a:cubicBezTo>
                      <a:cubicBezTo>
                        <a:pt x="60" y="238"/>
                        <a:pt x="72" y="236"/>
                        <a:pt x="53" y="222"/>
                      </a:cubicBezTo>
                      <a:cubicBezTo>
                        <a:pt x="53" y="222"/>
                        <a:pt x="56" y="209"/>
                        <a:pt x="39" y="209"/>
                      </a:cubicBezTo>
                      <a:cubicBezTo>
                        <a:pt x="39" y="209"/>
                        <a:pt x="17" y="210"/>
                        <a:pt x="30" y="201"/>
                      </a:cubicBezTo>
                      <a:cubicBezTo>
                        <a:pt x="40" y="198"/>
                        <a:pt x="28" y="194"/>
                        <a:pt x="30" y="185"/>
                      </a:cubicBezTo>
                      <a:cubicBezTo>
                        <a:pt x="30" y="185"/>
                        <a:pt x="33" y="166"/>
                        <a:pt x="19" y="173"/>
                      </a:cubicBezTo>
                      <a:cubicBezTo>
                        <a:pt x="19" y="173"/>
                        <a:pt x="9" y="175"/>
                        <a:pt x="10" y="169"/>
                      </a:cubicBezTo>
                      <a:cubicBezTo>
                        <a:pt x="10" y="169"/>
                        <a:pt x="14" y="162"/>
                        <a:pt x="4" y="161"/>
                      </a:cubicBezTo>
                      <a:cubicBezTo>
                        <a:pt x="4" y="161"/>
                        <a:pt x="4" y="161"/>
                        <a:pt x="4" y="161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3" name="Freeform 42"/>
                <p:cNvSpPr>
                  <a:spLocks/>
                </p:cNvSpPr>
                <p:nvPr/>
              </p:nvSpPr>
              <p:spPr bwMode="auto">
                <a:xfrm>
                  <a:off x="4005526" y="3599817"/>
                  <a:ext cx="1370614" cy="800883"/>
                </a:xfrm>
                <a:custGeom>
                  <a:avLst/>
                  <a:gdLst/>
                  <a:ahLst/>
                  <a:cxnLst>
                    <a:cxn ang="0">
                      <a:pos x="429" y="234"/>
                    </a:cxn>
                    <a:cxn ang="0">
                      <a:pos x="404" y="236"/>
                    </a:cxn>
                    <a:cxn ang="0">
                      <a:pos x="382" y="229"/>
                    </a:cxn>
                    <a:cxn ang="0">
                      <a:pos x="374" y="196"/>
                    </a:cxn>
                    <a:cxn ang="0">
                      <a:pos x="354" y="196"/>
                    </a:cxn>
                    <a:cxn ang="0">
                      <a:pos x="317" y="192"/>
                    </a:cxn>
                    <a:cxn ang="0">
                      <a:pos x="272" y="192"/>
                    </a:cxn>
                    <a:cxn ang="0">
                      <a:pos x="262" y="192"/>
                    </a:cxn>
                    <a:cxn ang="0">
                      <a:pos x="229" y="206"/>
                    </a:cxn>
                    <a:cxn ang="0">
                      <a:pos x="238" y="224"/>
                    </a:cxn>
                    <a:cxn ang="0">
                      <a:pos x="239" y="247"/>
                    </a:cxn>
                    <a:cxn ang="0">
                      <a:pos x="242" y="287"/>
                    </a:cxn>
                    <a:cxn ang="0">
                      <a:pos x="220" y="298"/>
                    </a:cxn>
                    <a:cxn ang="0">
                      <a:pos x="175" y="309"/>
                    </a:cxn>
                    <a:cxn ang="0">
                      <a:pos x="136" y="314"/>
                    </a:cxn>
                    <a:cxn ang="0">
                      <a:pos x="110" y="313"/>
                    </a:cxn>
                    <a:cxn ang="0">
                      <a:pos x="66" y="308"/>
                    </a:cxn>
                    <a:cxn ang="0">
                      <a:pos x="46" y="309"/>
                    </a:cxn>
                    <a:cxn ang="0">
                      <a:pos x="20" y="302"/>
                    </a:cxn>
                    <a:cxn ang="0">
                      <a:pos x="14" y="275"/>
                    </a:cxn>
                    <a:cxn ang="0">
                      <a:pos x="12" y="239"/>
                    </a:cxn>
                    <a:cxn ang="0">
                      <a:pos x="35" y="207"/>
                    </a:cxn>
                    <a:cxn ang="0">
                      <a:pos x="66" y="162"/>
                    </a:cxn>
                    <a:cxn ang="0">
                      <a:pos x="69" y="121"/>
                    </a:cxn>
                    <a:cxn ang="0">
                      <a:pos x="86" y="115"/>
                    </a:cxn>
                    <a:cxn ang="0">
                      <a:pos x="99" y="100"/>
                    </a:cxn>
                    <a:cxn ang="0">
                      <a:pos x="80" y="79"/>
                    </a:cxn>
                    <a:cxn ang="0">
                      <a:pos x="100" y="82"/>
                    </a:cxn>
                    <a:cxn ang="0">
                      <a:pos x="110" y="65"/>
                    </a:cxn>
                    <a:cxn ang="0">
                      <a:pos x="154" y="79"/>
                    </a:cxn>
                    <a:cxn ang="0">
                      <a:pos x="161" y="42"/>
                    </a:cxn>
                    <a:cxn ang="0">
                      <a:pos x="206" y="8"/>
                    </a:cxn>
                    <a:cxn ang="0">
                      <a:pos x="267" y="15"/>
                    </a:cxn>
                    <a:cxn ang="0">
                      <a:pos x="335" y="37"/>
                    </a:cxn>
                    <a:cxn ang="0">
                      <a:pos x="378" y="71"/>
                    </a:cxn>
                    <a:cxn ang="0">
                      <a:pos x="398" y="99"/>
                    </a:cxn>
                    <a:cxn ang="0">
                      <a:pos x="431" y="89"/>
                    </a:cxn>
                    <a:cxn ang="0">
                      <a:pos x="455" y="97"/>
                    </a:cxn>
                    <a:cxn ang="0">
                      <a:pos x="473" y="97"/>
                    </a:cxn>
                    <a:cxn ang="0">
                      <a:pos x="469" y="142"/>
                    </a:cxn>
                    <a:cxn ang="0">
                      <a:pos x="477" y="167"/>
                    </a:cxn>
                    <a:cxn ang="0">
                      <a:pos x="463" y="192"/>
                    </a:cxn>
                    <a:cxn ang="0">
                      <a:pos x="443" y="206"/>
                    </a:cxn>
                    <a:cxn ang="0">
                      <a:pos x="444" y="233"/>
                    </a:cxn>
                  </a:cxnLst>
                  <a:rect l="0" t="0" r="r" b="b"/>
                  <a:pathLst>
                    <a:path w="484" h="320">
                      <a:moveTo>
                        <a:pt x="444" y="233"/>
                      </a:moveTo>
                      <a:cubicBezTo>
                        <a:pt x="433" y="228"/>
                        <a:pt x="429" y="234"/>
                        <a:pt x="429" y="234"/>
                      </a:cubicBezTo>
                      <a:cubicBezTo>
                        <a:pt x="425" y="239"/>
                        <a:pt x="417" y="233"/>
                        <a:pt x="417" y="233"/>
                      </a:cubicBezTo>
                      <a:cubicBezTo>
                        <a:pt x="405" y="243"/>
                        <a:pt x="404" y="236"/>
                        <a:pt x="404" y="236"/>
                      </a:cubicBezTo>
                      <a:cubicBezTo>
                        <a:pt x="395" y="226"/>
                        <a:pt x="393" y="233"/>
                        <a:pt x="393" y="233"/>
                      </a:cubicBezTo>
                      <a:cubicBezTo>
                        <a:pt x="382" y="238"/>
                        <a:pt x="382" y="229"/>
                        <a:pt x="382" y="229"/>
                      </a:cubicBezTo>
                      <a:cubicBezTo>
                        <a:pt x="396" y="219"/>
                        <a:pt x="379" y="215"/>
                        <a:pt x="379" y="215"/>
                      </a:cubicBezTo>
                      <a:cubicBezTo>
                        <a:pt x="370" y="203"/>
                        <a:pt x="374" y="196"/>
                        <a:pt x="374" y="196"/>
                      </a:cubicBezTo>
                      <a:cubicBezTo>
                        <a:pt x="369" y="205"/>
                        <a:pt x="366" y="199"/>
                        <a:pt x="366" y="199"/>
                      </a:cubicBezTo>
                      <a:cubicBezTo>
                        <a:pt x="365" y="186"/>
                        <a:pt x="354" y="196"/>
                        <a:pt x="354" y="196"/>
                      </a:cubicBezTo>
                      <a:cubicBezTo>
                        <a:pt x="343" y="196"/>
                        <a:pt x="337" y="190"/>
                        <a:pt x="337" y="190"/>
                      </a:cubicBezTo>
                      <a:cubicBezTo>
                        <a:pt x="327" y="181"/>
                        <a:pt x="317" y="192"/>
                        <a:pt x="317" y="192"/>
                      </a:cubicBezTo>
                      <a:cubicBezTo>
                        <a:pt x="306" y="199"/>
                        <a:pt x="297" y="192"/>
                        <a:pt x="297" y="192"/>
                      </a:cubicBezTo>
                      <a:cubicBezTo>
                        <a:pt x="279" y="188"/>
                        <a:pt x="272" y="192"/>
                        <a:pt x="272" y="192"/>
                      </a:cubicBezTo>
                      <a:cubicBezTo>
                        <a:pt x="270" y="193"/>
                        <a:pt x="269" y="192"/>
                        <a:pt x="267" y="191"/>
                      </a:cubicBezTo>
                      <a:cubicBezTo>
                        <a:pt x="265" y="190"/>
                        <a:pt x="264" y="191"/>
                        <a:pt x="262" y="192"/>
                      </a:cubicBezTo>
                      <a:cubicBezTo>
                        <a:pt x="249" y="188"/>
                        <a:pt x="246" y="199"/>
                        <a:pt x="246" y="199"/>
                      </a:cubicBezTo>
                      <a:cubicBezTo>
                        <a:pt x="228" y="197"/>
                        <a:pt x="229" y="206"/>
                        <a:pt x="229" y="206"/>
                      </a:cubicBezTo>
                      <a:cubicBezTo>
                        <a:pt x="231" y="210"/>
                        <a:pt x="225" y="215"/>
                        <a:pt x="225" y="215"/>
                      </a:cubicBezTo>
                      <a:cubicBezTo>
                        <a:pt x="232" y="215"/>
                        <a:pt x="238" y="224"/>
                        <a:pt x="238" y="224"/>
                      </a:cubicBezTo>
                      <a:cubicBezTo>
                        <a:pt x="245" y="227"/>
                        <a:pt x="227" y="226"/>
                        <a:pt x="227" y="236"/>
                      </a:cubicBezTo>
                      <a:cubicBezTo>
                        <a:pt x="227" y="240"/>
                        <a:pt x="239" y="247"/>
                        <a:pt x="239" y="247"/>
                      </a:cubicBezTo>
                      <a:cubicBezTo>
                        <a:pt x="235" y="267"/>
                        <a:pt x="253" y="261"/>
                        <a:pt x="244" y="273"/>
                      </a:cubicBezTo>
                      <a:cubicBezTo>
                        <a:pt x="242" y="277"/>
                        <a:pt x="242" y="287"/>
                        <a:pt x="242" y="287"/>
                      </a:cubicBezTo>
                      <a:cubicBezTo>
                        <a:pt x="246" y="305"/>
                        <a:pt x="237" y="302"/>
                        <a:pt x="237" y="302"/>
                      </a:cubicBezTo>
                      <a:cubicBezTo>
                        <a:pt x="221" y="303"/>
                        <a:pt x="220" y="298"/>
                        <a:pt x="220" y="298"/>
                      </a:cubicBezTo>
                      <a:cubicBezTo>
                        <a:pt x="203" y="291"/>
                        <a:pt x="192" y="300"/>
                        <a:pt x="192" y="300"/>
                      </a:cubicBezTo>
                      <a:cubicBezTo>
                        <a:pt x="187" y="306"/>
                        <a:pt x="175" y="309"/>
                        <a:pt x="175" y="309"/>
                      </a:cubicBezTo>
                      <a:cubicBezTo>
                        <a:pt x="165" y="309"/>
                        <a:pt x="160" y="314"/>
                        <a:pt x="160" y="314"/>
                      </a:cubicBezTo>
                      <a:cubicBezTo>
                        <a:pt x="150" y="315"/>
                        <a:pt x="136" y="314"/>
                        <a:pt x="136" y="314"/>
                      </a:cubicBezTo>
                      <a:cubicBezTo>
                        <a:pt x="127" y="317"/>
                        <a:pt x="126" y="312"/>
                        <a:pt x="126" y="312"/>
                      </a:cubicBezTo>
                      <a:cubicBezTo>
                        <a:pt x="115" y="306"/>
                        <a:pt x="110" y="313"/>
                        <a:pt x="110" y="313"/>
                      </a:cubicBezTo>
                      <a:cubicBezTo>
                        <a:pt x="82" y="319"/>
                        <a:pt x="85" y="309"/>
                        <a:pt x="85" y="309"/>
                      </a:cubicBezTo>
                      <a:cubicBezTo>
                        <a:pt x="75" y="294"/>
                        <a:pt x="66" y="308"/>
                        <a:pt x="66" y="308"/>
                      </a:cubicBezTo>
                      <a:cubicBezTo>
                        <a:pt x="64" y="312"/>
                        <a:pt x="55" y="306"/>
                        <a:pt x="55" y="313"/>
                      </a:cubicBezTo>
                      <a:cubicBezTo>
                        <a:pt x="52" y="320"/>
                        <a:pt x="46" y="309"/>
                        <a:pt x="46" y="309"/>
                      </a:cubicBezTo>
                      <a:cubicBezTo>
                        <a:pt x="44" y="305"/>
                        <a:pt x="33" y="306"/>
                        <a:pt x="33" y="306"/>
                      </a:cubicBezTo>
                      <a:cubicBezTo>
                        <a:pt x="28" y="299"/>
                        <a:pt x="20" y="302"/>
                        <a:pt x="20" y="302"/>
                      </a:cubicBezTo>
                      <a:cubicBezTo>
                        <a:pt x="6" y="298"/>
                        <a:pt x="11" y="289"/>
                        <a:pt x="11" y="289"/>
                      </a:cubicBezTo>
                      <a:cubicBezTo>
                        <a:pt x="0" y="273"/>
                        <a:pt x="14" y="275"/>
                        <a:pt x="14" y="275"/>
                      </a:cubicBezTo>
                      <a:cubicBezTo>
                        <a:pt x="21" y="270"/>
                        <a:pt x="15" y="254"/>
                        <a:pt x="15" y="254"/>
                      </a:cubicBezTo>
                      <a:cubicBezTo>
                        <a:pt x="19" y="243"/>
                        <a:pt x="12" y="239"/>
                        <a:pt x="12" y="239"/>
                      </a:cubicBezTo>
                      <a:cubicBezTo>
                        <a:pt x="8" y="232"/>
                        <a:pt x="11" y="225"/>
                        <a:pt x="11" y="225"/>
                      </a:cubicBezTo>
                      <a:cubicBezTo>
                        <a:pt x="18" y="210"/>
                        <a:pt x="35" y="207"/>
                        <a:pt x="35" y="207"/>
                      </a:cubicBezTo>
                      <a:cubicBezTo>
                        <a:pt x="37" y="192"/>
                        <a:pt x="52" y="192"/>
                        <a:pt x="52" y="192"/>
                      </a:cubicBezTo>
                      <a:cubicBezTo>
                        <a:pt x="75" y="180"/>
                        <a:pt x="66" y="162"/>
                        <a:pt x="66" y="162"/>
                      </a:cubicBezTo>
                      <a:cubicBezTo>
                        <a:pt x="66" y="145"/>
                        <a:pt x="62" y="141"/>
                        <a:pt x="62" y="141"/>
                      </a:cubicBezTo>
                      <a:cubicBezTo>
                        <a:pt x="53" y="129"/>
                        <a:pt x="69" y="121"/>
                        <a:pt x="69" y="121"/>
                      </a:cubicBezTo>
                      <a:cubicBezTo>
                        <a:pt x="69" y="121"/>
                        <a:pt x="69" y="121"/>
                        <a:pt x="69" y="121"/>
                      </a:cubicBezTo>
                      <a:cubicBezTo>
                        <a:pt x="86" y="115"/>
                        <a:pt x="86" y="115"/>
                        <a:pt x="86" y="115"/>
                      </a:cubicBezTo>
                      <a:cubicBezTo>
                        <a:pt x="86" y="115"/>
                        <a:pt x="86" y="115"/>
                        <a:pt x="86" y="115"/>
                      </a:cubicBezTo>
                      <a:cubicBezTo>
                        <a:pt x="98" y="108"/>
                        <a:pt x="99" y="100"/>
                        <a:pt x="99" y="100"/>
                      </a:cubicBezTo>
                      <a:cubicBezTo>
                        <a:pt x="96" y="93"/>
                        <a:pt x="80" y="94"/>
                        <a:pt x="80" y="94"/>
                      </a:cubicBezTo>
                      <a:cubicBezTo>
                        <a:pt x="53" y="79"/>
                        <a:pt x="80" y="79"/>
                        <a:pt x="80" y="79"/>
                      </a:cubicBezTo>
                      <a:cubicBezTo>
                        <a:pt x="96" y="72"/>
                        <a:pt x="100" y="82"/>
                        <a:pt x="100" y="82"/>
                      </a:cubicBezTo>
                      <a:cubicBezTo>
                        <a:pt x="100" y="82"/>
                        <a:pt x="100" y="82"/>
                        <a:pt x="100" y="82"/>
                      </a:cubicBezTo>
                      <a:cubicBezTo>
                        <a:pt x="110" y="65"/>
                        <a:pt x="110" y="65"/>
                        <a:pt x="110" y="65"/>
                      </a:cubicBezTo>
                      <a:cubicBezTo>
                        <a:pt x="110" y="65"/>
                        <a:pt x="110" y="65"/>
                        <a:pt x="110" y="65"/>
                      </a:cubicBezTo>
                      <a:cubicBezTo>
                        <a:pt x="118" y="69"/>
                        <a:pt x="133" y="76"/>
                        <a:pt x="133" y="76"/>
                      </a:cubicBezTo>
                      <a:cubicBezTo>
                        <a:pt x="151" y="89"/>
                        <a:pt x="154" y="79"/>
                        <a:pt x="154" y="79"/>
                      </a:cubicBezTo>
                      <a:cubicBezTo>
                        <a:pt x="154" y="79"/>
                        <a:pt x="161" y="72"/>
                        <a:pt x="157" y="59"/>
                      </a:cubicBezTo>
                      <a:cubicBezTo>
                        <a:pt x="157" y="59"/>
                        <a:pt x="147" y="56"/>
                        <a:pt x="161" y="42"/>
                      </a:cubicBezTo>
                      <a:cubicBezTo>
                        <a:pt x="161" y="42"/>
                        <a:pt x="164" y="22"/>
                        <a:pt x="176" y="23"/>
                      </a:cubicBezTo>
                      <a:cubicBezTo>
                        <a:pt x="189" y="9"/>
                        <a:pt x="202" y="12"/>
                        <a:pt x="206" y="8"/>
                      </a:cubicBezTo>
                      <a:cubicBezTo>
                        <a:pt x="213" y="1"/>
                        <a:pt x="224" y="9"/>
                        <a:pt x="234" y="4"/>
                      </a:cubicBezTo>
                      <a:cubicBezTo>
                        <a:pt x="236" y="9"/>
                        <a:pt x="257" y="0"/>
                        <a:pt x="267" y="15"/>
                      </a:cubicBezTo>
                      <a:cubicBezTo>
                        <a:pt x="285" y="31"/>
                        <a:pt x="293" y="40"/>
                        <a:pt x="305" y="37"/>
                      </a:cubicBezTo>
                      <a:cubicBezTo>
                        <a:pt x="319" y="39"/>
                        <a:pt x="335" y="37"/>
                        <a:pt x="335" y="37"/>
                      </a:cubicBezTo>
                      <a:cubicBezTo>
                        <a:pt x="362" y="21"/>
                        <a:pt x="360" y="53"/>
                        <a:pt x="360" y="53"/>
                      </a:cubicBezTo>
                      <a:cubicBezTo>
                        <a:pt x="383" y="63"/>
                        <a:pt x="378" y="71"/>
                        <a:pt x="378" y="71"/>
                      </a:cubicBezTo>
                      <a:cubicBezTo>
                        <a:pt x="381" y="82"/>
                        <a:pt x="388" y="83"/>
                        <a:pt x="388" y="83"/>
                      </a:cubicBezTo>
                      <a:cubicBezTo>
                        <a:pt x="400" y="88"/>
                        <a:pt x="398" y="99"/>
                        <a:pt x="398" y="99"/>
                      </a:cubicBezTo>
                      <a:cubicBezTo>
                        <a:pt x="400" y="119"/>
                        <a:pt x="411" y="99"/>
                        <a:pt x="411" y="99"/>
                      </a:cubicBezTo>
                      <a:cubicBezTo>
                        <a:pt x="418" y="80"/>
                        <a:pt x="431" y="89"/>
                        <a:pt x="431" y="89"/>
                      </a:cubicBezTo>
                      <a:cubicBezTo>
                        <a:pt x="433" y="98"/>
                        <a:pt x="448" y="89"/>
                        <a:pt x="448" y="89"/>
                      </a:cubicBezTo>
                      <a:cubicBezTo>
                        <a:pt x="463" y="93"/>
                        <a:pt x="455" y="97"/>
                        <a:pt x="455" y="97"/>
                      </a:cubicBezTo>
                      <a:cubicBezTo>
                        <a:pt x="449" y="103"/>
                        <a:pt x="459" y="107"/>
                        <a:pt x="460" y="99"/>
                      </a:cubicBezTo>
                      <a:cubicBezTo>
                        <a:pt x="466" y="93"/>
                        <a:pt x="473" y="97"/>
                        <a:pt x="473" y="97"/>
                      </a:cubicBezTo>
                      <a:cubicBezTo>
                        <a:pt x="473" y="100"/>
                        <a:pt x="462" y="106"/>
                        <a:pt x="466" y="117"/>
                      </a:cubicBezTo>
                      <a:cubicBezTo>
                        <a:pt x="461" y="142"/>
                        <a:pt x="469" y="142"/>
                        <a:pt x="469" y="142"/>
                      </a:cubicBezTo>
                      <a:cubicBezTo>
                        <a:pt x="479" y="144"/>
                        <a:pt x="480" y="155"/>
                        <a:pt x="480" y="155"/>
                      </a:cubicBezTo>
                      <a:cubicBezTo>
                        <a:pt x="484" y="164"/>
                        <a:pt x="477" y="167"/>
                        <a:pt x="477" y="167"/>
                      </a:cubicBezTo>
                      <a:cubicBezTo>
                        <a:pt x="469" y="168"/>
                        <a:pt x="477" y="182"/>
                        <a:pt x="477" y="182"/>
                      </a:cubicBezTo>
                      <a:cubicBezTo>
                        <a:pt x="484" y="199"/>
                        <a:pt x="463" y="192"/>
                        <a:pt x="463" y="192"/>
                      </a:cubicBezTo>
                      <a:cubicBezTo>
                        <a:pt x="450" y="177"/>
                        <a:pt x="443" y="188"/>
                        <a:pt x="443" y="188"/>
                      </a:cubicBezTo>
                      <a:cubicBezTo>
                        <a:pt x="434" y="199"/>
                        <a:pt x="443" y="206"/>
                        <a:pt x="443" y="206"/>
                      </a:cubicBezTo>
                      <a:cubicBezTo>
                        <a:pt x="453" y="214"/>
                        <a:pt x="443" y="217"/>
                        <a:pt x="443" y="217"/>
                      </a:cubicBezTo>
                      <a:cubicBezTo>
                        <a:pt x="429" y="219"/>
                        <a:pt x="444" y="233"/>
                        <a:pt x="444" y="233"/>
                      </a:cubicBezTo>
                      <a:cubicBezTo>
                        <a:pt x="444" y="233"/>
                        <a:pt x="444" y="233"/>
                        <a:pt x="444" y="233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4" name="Freeform 41"/>
                <p:cNvSpPr>
                  <a:spLocks/>
                </p:cNvSpPr>
                <p:nvPr/>
              </p:nvSpPr>
              <p:spPr bwMode="auto">
                <a:xfrm>
                  <a:off x="2845881" y="3153094"/>
                  <a:ext cx="1120174" cy="825030"/>
                </a:xfrm>
                <a:custGeom>
                  <a:avLst/>
                  <a:gdLst/>
                  <a:ahLst/>
                  <a:cxnLst>
                    <a:cxn ang="0">
                      <a:pos x="385" y="177"/>
                    </a:cxn>
                    <a:cxn ang="0">
                      <a:pos x="389" y="206"/>
                    </a:cxn>
                    <a:cxn ang="0">
                      <a:pos x="389" y="228"/>
                    </a:cxn>
                    <a:cxn ang="0">
                      <a:pos x="372" y="230"/>
                    </a:cxn>
                    <a:cxn ang="0">
                      <a:pos x="355" y="235"/>
                    </a:cxn>
                    <a:cxn ang="0">
                      <a:pos x="342" y="217"/>
                    </a:cxn>
                    <a:cxn ang="0">
                      <a:pos x="332" y="209"/>
                    </a:cxn>
                    <a:cxn ang="0">
                      <a:pos x="319" y="221"/>
                    </a:cxn>
                    <a:cxn ang="0">
                      <a:pos x="311" y="233"/>
                    </a:cxn>
                    <a:cxn ang="0">
                      <a:pos x="301" y="242"/>
                    </a:cxn>
                    <a:cxn ang="0">
                      <a:pos x="288" y="244"/>
                    </a:cxn>
                    <a:cxn ang="0">
                      <a:pos x="275" y="243"/>
                    </a:cxn>
                    <a:cxn ang="0">
                      <a:pos x="250" y="240"/>
                    </a:cxn>
                    <a:cxn ang="0">
                      <a:pos x="238" y="252"/>
                    </a:cxn>
                    <a:cxn ang="0">
                      <a:pos x="230" y="270"/>
                    </a:cxn>
                    <a:cxn ang="0">
                      <a:pos x="209" y="274"/>
                    </a:cxn>
                    <a:cxn ang="0">
                      <a:pos x="192" y="273"/>
                    </a:cxn>
                    <a:cxn ang="0">
                      <a:pos x="178" y="273"/>
                    </a:cxn>
                    <a:cxn ang="0">
                      <a:pos x="139" y="272"/>
                    </a:cxn>
                    <a:cxn ang="0">
                      <a:pos x="127" y="286"/>
                    </a:cxn>
                    <a:cxn ang="0">
                      <a:pos x="122" y="300"/>
                    </a:cxn>
                    <a:cxn ang="0">
                      <a:pos x="115" y="306"/>
                    </a:cxn>
                    <a:cxn ang="0">
                      <a:pos x="87" y="320"/>
                    </a:cxn>
                    <a:cxn ang="0">
                      <a:pos x="59" y="330"/>
                    </a:cxn>
                    <a:cxn ang="0">
                      <a:pos x="56" y="318"/>
                    </a:cxn>
                    <a:cxn ang="0">
                      <a:pos x="51" y="301"/>
                    </a:cxn>
                    <a:cxn ang="0">
                      <a:pos x="44" y="286"/>
                    </a:cxn>
                    <a:cxn ang="0">
                      <a:pos x="33" y="265"/>
                    </a:cxn>
                    <a:cxn ang="0">
                      <a:pos x="23" y="253"/>
                    </a:cxn>
                    <a:cxn ang="0">
                      <a:pos x="21" y="241"/>
                    </a:cxn>
                    <a:cxn ang="0">
                      <a:pos x="16" y="224"/>
                    </a:cxn>
                    <a:cxn ang="0">
                      <a:pos x="15" y="213"/>
                    </a:cxn>
                    <a:cxn ang="0">
                      <a:pos x="20" y="187"/>
                    </a:cxn>
                    <a:cxn ang="0">
                      <a:pos x="31" y="193"/>
                    </a:cxn>
                    <a:cxn ang="0">
                      <a:pos x="47" y="185"/>
                    </a:cxn>
                    <a:cxn ang="0">
                      <a:pos x="68" y="177"/>
                    </a:cxn>
                    <a:cxn ang="0">
                      <a:pos x="82" y="177"/>
                    </a:cxn>
                    <a:cxn ang="0">
                      <a:pos x="99" y="183"/>
                    </a:cxn>
                    <a:cxn ang="0">
                      <a:pos x="104" y="173"/>
                    </a:cxn>
                    <a:cxn ang="0">
                      <a:pos x="114" y="167"/>
                    </a:cxn>
                    <a:cxn ang="0">
                      <a:pos x="144" y="166"/>
                    </a:cxn>
                    <a:cxn ang="0">
                      <a:pos x="169" y="153"/>
                    </a:cxn>
                    <a:cxn ang="0">
                      <a:pos x="187" y="135"/>
                    </a:cxn>
                    <a:cxn ang="0">
                      <a:pos x="188" y="118"/>
                    </a:cxn>
                    <a:cxn ang="0">
                      <a:pos x="194" y="90"/>
                    </a:cxn>
                    <a:cxn ang="0">
                      <a:pos x="209" y="70"/>
                    </a:cxn>
                    <a:cxn ang="0">
                      <a:pos x="227" y="69"/>
                    </a:cxn>
                    <a:cxn ang="0">
                      <a:pos x="251" y="72"/>
                    </a:cxn>
                    <a:cxn ang="0">
                      <a:pos x="268" y="46"/>
                    </a:cxn>
                    <a:cxn ang="0">
                      <a:pos x="273" y="30"/>
                    </a:cxn>
                    <a:cxn ang="0">
                      <a:pos x="284" y="17"/>
                    </a:cxn>
                    <a:cxn ang="0">
                      <a:pos x="301" y="0"/>
                    </a:cxn>
                    <a:cxn ang="0">
                      <a:pos x="316" y="16"/>
                    </a:cxn>
                    <a:cxn ang="0">
                      <a:pos x="325" y="36"/>
                    </a:cxn>
                    <a:cxn ang="0">
                      <a:pos x="335" y="47"/>
                    </a:cxn>
                    <a:cxn ang="0">
                      <a:pos x="337" y="65"/>
                    </a:cxn>
                    <a:cxn ang="0">
                      <a:pos x="344" y="80"/>
                    </a:cxn>
                    <a:cxn ang="0">
                      <a:pos x="359" y="98"/>
                    </a:cxn>
                    <a:cxn ang="0">
                      <a:pos x="374" y="111"/>
                    </a:cxn>
                    <a:cxn ang="0">
                      <a:pos x="375" y="125"/>
                    </a:cxn>
                    <a:cxn ang="0">
                      <a:pos x="376" y="147"/>
                    </a:cxn>
                    <a:cxn ang="0">
                      <a:pos x="385" y="177"/>
                    </a:cxn>
                    <a:cxn ang="0">
                      <a:pos x="385" y="177"/>
                    </a:cxn>
                  </a:cxnLst>
                  <a:rect l="0" t="0" r="r" b="b"/>
                  <a:pathLst>
                    <a:path w="396" h="330">
                      <a:moveTo>
                        <a:pt x="385" y="177"/>
                      </a:moveTo>
                      <a:cubicBezTo>
                        <a:pt x="374" y="195"/>
                        <a:pt x="385" y="191"/>
                        <a:pt x="389" y="206"/>
                      </a:cubicBezTo>
                      <a:cubicBezTo>
                        <a:pt x="389" y="206"/>
                        <a:pt x="396" y="220"/>
                        <a:pt x="389" y="228"/>
                      </a:cubicBezTo>
                      <a:cubicBezTo>
                        <a:pt x="380" y="238"/>
                        <a:pt x="380" y="226"/>
                        <a:pt x="372" y="230"/>
                      </a:cubicBezTo>
                      <a:cubicBezTo>
                        <a:pt x="372" y="230"/>
                        <a:pt x="365" y="239"/>
                        <a:pt x="355" y="235"/>
                      </a:cubicBezTo>
                      <a:cubicBezTo>
                        <a:pt x="355" y="235"/>
                        <a:pt x="354" y="224"/>
                        <a:pt x="342" y="217"/>
                      </a:cubicBezTo>
                      <a:cubicBezTo>
                        <a:pt x="342" y="217"/>
                        <a:pt x="335" y="217"/>
                        <a:pt x="332" y="209"/>
                      </a:cubicBezTo>
                      <a:cubicBezTo>
                        <a:pt x="332" y="209"/>
                        <a:pt x="325" y="217"/>
                        <a:pt x="319" y="221"/>
                      </a:cubicBezTo>
                      <a:cubicBezTo>
                        <a:pt x="319" y="221"/>
                        <a:pt x="310" y="223"/>
                        <a:pt x="311" y="233"/>
                      </a:cubicBezTo>
                      <a:cubicBezTo>
                        <a:pt x="311" y="233"/>
                        <a:pt x="313" y="248"/>
                        <a:pt x="301" y="242"/>
                      </a:cubicBezTo>
                      <a:cubicBezTo>
                        <a:pt x="301" y="242"/>
                        <a:pt x="296" y="232"/>
                        <a:pt x="288" y="244"/>
                      </a:cubicBezTo>
                      <a:cubicBezTo>
                        <a:pt x="288" y="244"/>
                        <a:pt x="279" y="259"/>
                        <a:pt x="275" y="243"/>
                      </a:cubicBezTo>
                      <a:cubicBezTo>
                        <a:pt x="275" y="243"/>
                        <a:pt x="260" y="234"/>
                        <a:pt x="250" y="240"/>
                      </a:cubicBezTo>
                      <a:cubicBezTo>
                        <a:pt x="250" y="240"/>
                        <a:pt x="232" y="234"/>
                        <a:pt x="238" y="252"/>
                      </a:cubicBezTo>
                      <a:cubicBezTo>
                        <a:pt x="238" y="252"/>
                        <a:pt x="229" y="261"/>
                        <a:pt x="230" y="270"/>
                      </a:cubicBezTo>
                      <a:cubicBezTo>
                        <a:pt x="230" y="270"/>
                        <a:pt x="212" y="282"/>
                        <a:pt x="209" y="274"/>
                      </a:cubicBezTo>
                      <a:cubicBezTo>
                        <a:pt x="209" y="274"/>
                        <a:pt x="205" y="265"/>
                        <a:pt x="192" y="273"/>
                      </a:cubicBezTo>
                      <a:cubicBezTo>
                        <a:pt x="192" y="273"/>
                        <a:pt x="182" y="281"/>
                        <a:pt x="178" y="273"/>
                      </a:cubicBezTo>
                      <a:cubicBezTo>
                        <a:pt x="178" y="273"/>
                        <a:pt x="161" y="268"/>
                        <a:pt x="139" y="272"/>
                      </a:cubicBezTo>
                      <a:cubicBezTo>
                        <a:pt x="139" y="272"/>
                        <a:pt x="128" y="268"/>
                        <a:pt x="127" y="286"/>
                      </a:cubicBezTo>
                      <a:cubicBezTo>
                        <a:pt x="127" y="286"/>
                        <a:pt x="118" y="296"/>
                        <a:pt x="122" y="300"/>
                      </a:cubicBezTo>
                      <a:cubicBezTo>
                        <a:pt x="122" y="300"/>
                        <a:pt x="127" y="309"/>
                        <a:pt x="115" y="306"/>
                      </a:cubicBezTo>
                      <a:cubicBezTo>
                        <a:pt x="115" y="306"/>
                        <a:pt x="102" y="302"/>
                        <a:pt x="87" y="320"/>
                      </a:cubicBezTo>
                      <a:cubicBezTo>
                        <a:pt x="81" y="325"/>
                        <a:pt x="76" y="311"/>
                        <a:pt x="59" y="330"/>
                      </a:cubicBezTo>
                      <a:cubicBezTo>
                        <a:pt x="44" y="325"/>
                        <a:pt x="56" y="318"/>
                        <a:pt x="56" y="318"/>
                      </a:cubicBezTo>
                      <a:cubicBezTo>
                        <a:pt x="62" y="303"/>
                        <a:pt x="51" y="301"/>
                        <a:pt x="51" y="301"/>
                      </a:cubicBezTo>
                      <a:cubicBezTo>
                        <a:pt x="46" y="300"/>
                        <a:pt x="58" y="285"/>
                        <a:pt x="44" y="286"/>
                      </a:cubicBezTo>
                      <a:cubicBezTo>
                        <a:pt x="35" y="283"/>
                        <a:pt x="45" y="274"/>
                        <a:pt x="33" y="265"/>
                      </a:cubicBezTo>
                      <a:cubicBezTo>
                        <a:pt x="21" y="263"/>
                        <a:pt x="31" y="250"/>
                        <a:pt x="23" y="253"/>
                      </a:cubicBezTo>
                      <a:cubicBezTo>
                        <a:pt x="17" y="252"/>
                        <a:pt x="21" y="241"/>
                        <a:pt x="21" y="241"/>
                      </a:cubicBezTo>
                      <a:cubicBezTo>
                        <a:pt x="10" y="239"/>
                        <a:pt x="16" y="224"/>
                        <a:pt x="16" y="224"/>
                      </a:cubicBezTo>
                      <a:cubicBezTo>
                        <a:pt x="0" y="224"/>
                        <a:pt x="11" y="211"/>
                        <a:pt x="15" y="213"/>
                      </a:cubicBezTo>
                      <a:cubicBezTo>
                        <a:pt x="26" y="199"/>
                        <a:pt x="20" y="187"/>
                        <a:pt x="20" y="187"/>
                      </a:cubicBezTo>
                      <a:cubicBezTo>
                        <a:pt x="31" y="182"/>
                        <a:pt x="24" y="195"/>
                        <a:pt x="31" y="193"/>
                      </a:cubicBezTo>
                      <a:cubicBezTo>
                        <a:pt x="40" y="195"/>
                        <a:pt x="47" y="185"/>
                        <a:pt x="47" y="185"/>
                      </a:cubicBezTo>
                      <a:cubicBezTo>
                        <a:pt x="51" y="176"/>
                        <a:pt x="68" y="177"/>
                        <a:pt x="68" y="177"/>
                      </a:cubicBezTo>
                      <a:cubicBezTo>
                        <a:pt x="73" y="162"/>
                        <a:pt x="82" y="177"/>
                        <a:pt x="82" y="177"/>
                      </a:cubicBezTo>
                      <a:cubicBezTo>
                        <a:pt x="93" y="177"/>
                        <a:pt x="99" y="183"/>
                        <a:pt x="99" y="183"/>
                      </a:cubicBezTo>
                      <a:cubicBezTo>
                        <a:pt x="106" y="188"/>
                        <a:pt x="104" y="173"/>
                        <a:pt x="104" y="173"/>
                      </a:cubicBezTo>
                      <a:cubicBezTo>
                        <a:pt x="104" y="155"/>
                        <a:pt x="114" y="167"/>
                        <a:pt x="114" y="167"/>
                      </a:cubicBezTo>
                      <a:cubicBezTo>
                        <a:pt x="137" y="158"/>
                        <a:pt x="144" y="166"/>
                        <a:pt x="144" y="166"/>
                      </a:cubicBezTo>
                      <a:cubicBezTo>
                        <a:pt x="167" y="166"/>
                        <a:pt x="169" y="153"/>
                        <a:pt x="169" y="153"/>
                      </a:cubicBezTo>
                      <a:cubicBezTo>
                        <a:pt x="170" y="144"/>
                        <a:pt x="187" y="135"/>
                        <a:pt x="187" y="135"/>
                      </a:cubicBezTo>
                      <a:cubicBezTo>
                        <a:pt x="187" y="126"/>
                        <a:pt x="188" y="118"/>
                        <a:pt x="188" y="118"/>
                      </a:cubicBezTo>
                      <a:cubicBezTo>
                        <a:pt x="195" y="107"/>
                        <a:pt x="194" y="90"/>
                        <a:pt x="194" y="90"/>
                      </a:cubicBezTo>
                      <a:cubicBezTo>
                        <a:pt x="194" y="63"/>
                        <a:pt x="209" y="70"/>
                        <a:pt x="209" y="70"/>
                      </a:cubicBezTo>
                      <a:cubicBezTo>
                        <a:pt x="217" y="58"/>
                        <a:pt x="227" y="69"/>
                        <a:pt x="227" y="69"/>
                      </a:cubicBezTo>
                      <a:cubicBezTo>
                        <a:pt x="234" y="76"/>
                        <a:pt x="251" y="72"/>
                        <a:pt x="251" y="72"/>
                      </a:cubicBezTo>
                      <a:cubicBezTo>
                        <a:pt x="266" y="74"/>
                        <a:pt x="268" y="46"/>
                        <a:pt x="268" y="46"/>
                      </a:cubicBezTo>
                      <a:cubicBezTo>
                        <a:pt x="279" y="43"/>
                        <a:pt x="273" y="30"/>
                        <a:pt x="273" y="30"/>
                      </a:cubicBezTo>
                      <a:cubicBezTo>
                        <a:pt x="274" y="22"/>
                        <a:pt x="287" y="22"/>
                        <a:pt x="284" y="17"/>
                      </a:cubicBezTo>
                      <a:cubicBezTo>
                        <a:pt x="282" y="5"/>
                        <a:pt x="301" y="0"/>
                        <a:pt x="301" y="0"/>
                      </a:cubicBezTo>
                      <a:cubicBezTo>
                        <a:pt x="302" y="15"/>
                        <a:pt x="316" y="16"/>
                        <a:pt x="316" y="16"/>
                      </a:cubicBezTo>
                      <a:cubicBezTo>
                        <a:pt x="316" y="38"/>
                        <a:pt x="325" y="36"/>
                        <a:pt x="325" y="36"/>
                      </a:cubicBezTo>
                      <a:cubicBezTo>
                        <a:pt x="333" y="36"/>
                        <a:pt x="335" y="47"/>
                        <a:pt x="335" y="47"/>
                      </a:cubicBezTo>
                      <a:cubicBezTo>
                        <a:pt x="341" y="52"/>
                        <a:pt x="337" y="65"/>
                        <a:pt x="337" y="65"/>
                      </a:cubicBezTo>
                      <a:cubicBezTo>
                        <a:pt x="324" y="67"/>
                        <a:pt x="344" y="80"/>
                        <a:pt x="344" y="80"/>
                      </a:cubicBezTo>
                      <a:cubicBezTo>
                        <a:pt x="359" y="86"/>
                        <a:pt x="359" y="98"/>
                        <a:pt x="359" y="98"/>
                      </a:cubicBezTo>
                      <a:cubicBezTo>
                        <a:pt x="376" y="100"/>
                        <a:pt x="374" y="111"/>
                        <a:pt x="374" y="111"/>
                      </a:cubicBezTo>
                      <a:cubicBezTo>
                        <a:pt x="388" y="124"/>
                        <a:pt x="375" y="125"/>
                        <a:pt x="375" y="125"/>
                      </a:cubicBezTo>
                      <a:cubicBezTo>
                        <a:pt x="366" y="136"/>
                        <a:pt x="376" y="147"/>
                        <a:pt x="376" y="147"/>
                      </a:cubicBezTo>
                      <a:cubicBezTo>
                        <a:pt x="386" y="159"/>
                        <a:pt x="385" y="177"/>
                        <a:pt x="385" y="177"/>
                      </a:cubicBezTo>
                      <a:cubicBezTo>
                        <a:pt x="385" y="177"/>
                        <a:pt x="385" y="177"/>
                        <a:pt x="385" y="177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5" name="Freeform 40"/>
                <p:cNvSpPr>
                  <a:spLocks/>
                </p:cNvSpPr>
                <p:nvPr/>
              </p:nvSpPr>
              <p:spPr bwMode="auto">
                <a:xfrm>
                  <a:off x="2896240" y="3597134"/>
                  <a:ext cx="1420974" cy="711002"/>
                </a:xfrm>
                <a:custGeom>
                  <a:avLst/>
                  <a:gdLst/>
                  <a:ahLst/>
                  <a:cxnLst>
                    <a:cxn ang="0">
                      <a:pos x="375" y="231"/>
                    </a:cxn>
                    <a:cxn ang="0">
                      <a:pos x="328" y="267"/>
                    </a:cxn>
                    <a:cxn ang="0">
                      <a:pos x="289" y="271"/>
                    </a:cxn>
                    <a:cxn ang="0">
                      <a:pos x="263" y="256"/>
                    </a:cxn>
                    <a:cxn ang="0">
                      <a:pos x="246" y="225"/>
                    </a:cxn>
                    <a:cxn ang="0">
                      <a:pos x="218" y="219"/>
                    </a:cxn>
                    <a:cxn ang="0">
                      <a:pos x="181" y="201"/>
                    </a:cxn>
                    <a:cxn ang="0">
                      <a:pos x="119" y="200"/>
                    </a:cxn>
                    <a:cxn ang="0">
                      <a:pos x="74" y="204"/>
                    </a:cxn>
                    <a:cxn ang="0">
                      <a:pos x="26" y="190"/>
                    </a:cxn>
                    <a:cxn ang="0">
                      <a:pos x="10" y="166"/>
                    </a:cxn>
                    <a:cxn ang="0">
                      <a:pos x="41" y="154"/>
                    </a:cxn>
                    <a:cxn ang="0">
                      <a:pos x="97" y="129"/>
                    </a:cxn>
                    <a:cxn ang="0">
                      <a:pos x="109" y="109"/>
                    </a:cxn>
                    <a:cxn ang="0">
                      <a:pos x="160" y="96"/>
                    </a:cxn>
                    <a:cxn ang="0">
                      <a:pos x="191" y="97"/>
                    </a:cxn>
                    <a:cxn ang="0">
                      <a:pos x="220" y="75"/>
                    </a:cxn>
                    <a:cxn ang="0">
                      <a:pos x="257" y="66"/>
                    </a:cxn>
                    <a:cxn ang="0">
                      <a:pos x="283" y="65"/>
                    </a:cxn>
                    <a:cxn ang="0">
                      <a:pos x="301" y="44"/>
                    </a:cxn>
                    <a:cxn ang="0">
                      <a:pos x="324" y="40"/>
                    </a:cxn>
                    <a:cxn ang="0">
                      <a:pos x="354" y="53"/>
                    </a:cxn>
                    <a:cxn ang="0">
                      <a:pos x="371" y="29"/>
                    </a:cxn>
                    <a:cxn ang="0">
                      <a:pos x="379" y="9"/>
                    </a:cxn>
                    <a:cxn ang="0">
                      <a:pos x="419" y="33"/>
                    </a:cxn>
                    <a:cxn ang="0">
                      <a:pos x="451" y="58"/>
                    </a:cxn>
                    <a:cxn ang="0">
                      <a:pos x="502" y="67"/>
                    </a:cxn>
                    <a:cxn ang="0">
                      <a:pos x="492" y="84"/>
                    </a:cxn>
                    <a:cxn ang="0">
                      <a:pos x="472" y="81"/>
                    </a:cxn>
                    <a:cxn ang="0">
                      <a:pos x="491" y="102"/>
                    </a:cxn>
                    <a:cxn ang="0">
                      <a:pos x="478" y="117"/>
                    </a:cxn>
                    <a:cxn ang="0">
                      <a:pos x="461" y="123"/>
                    </a:cxn>
                    <a:cxn ang="0">
                      <a:pos x="458" y="164"/>
                    </a:cxn>
                    <a:cxn ang="0">
                      <a:pos x="427" y="209"/>
                    </a:cxn>
                    <a:cxn ang="0">
                      <a:pos x="403" y="227"/>
                    </a:cxn>
                  </a:cxnLst>
                  <a:rect l="0" t="0" r="r" b="b"/>
                  <a:pathLst>
                    <a:path w="502" h="285">
                      <a:moveTo>
                        <a:pt x="403" y="227"/>
                      </a:moveTo>
                      <a:cubicBezTo>
                        <a:pt x="385" y="209"/>
                        <a:pt x="389" y="236"/>
                        <a:pt x="375" y="231"/>
                      </a:cubicBezTo>
                      <a:cubicBezTo>
                        <a:pt x="375" y="231"/>
                        <a:pt x="358" y="223"/>
                        <a:pt x="358" y="249"/>
                      </a:cubicBezTo>
                      <a:cubicBezTo>
                        <a:pt x="358" y="249"/>
                        <a:pt x="365" y="273"/>
                        <a:pt x="328" y="267"/>
                      </a:cubicBezTo>
                      <a:cubicBezTo>
                        <a:pt x="328" y="267"/>
                        <a:pt x="310" y="253"/>
                        <a:pt x="304" y="267"/>
                      </a:cubicBezTo>
                      <a:cubicBezTo>
                        <a:pt x="304" y="267"/>
                        <a:pt x="292" y="285"/>
                        <a:pt x="289" y="271"/>
                      </a:cubicBezTo>
                      <a:cubicBezTo>
                        <a:pt x="289" y="271"/>
                        <a:pt x="282" y="257"/>
                        <a:pt x="272" y="267"/>
                      </a:cubicBezTo>
                      <a:cubicBezTo>
                        <a:pt x="272" y="267"/>
                        <a:pt x="255" y="273"/>
                        <a:pt x="263" y="256"/>
                      </a:cubicBezTo>
                      <a:cubicBezTo>
                        <a:pt x="263" y="256"/>
                        <a:pt x="263" y="244"/>
                        <a:pt x="253" y="240"/>
                      </a:cubicBezTo>
                      <a:cubicBezTo>
                        <a:pt x="253" y="240"/>
                        <a:pt x="235" y="228"/>
                        <a:pt x="246" y="225"/>
                      </a:cubicBezTo>
                      <a:cubicBezTo>
                        <a:pt x="246" y="225"/>
                        <a:pt x="259" y="214"/>
                        <a:pt x="237" y="212"/>
                      </a:cubicBezTo>
                      <a:cubicBezTo>
                        <a:pt x="237" y="212"/>
                        <a:pt x="232" y="204"/>
                        <a:pt x="218" y="219"/>
                      </a:cubicBezTo>
                      <a:cubicBezTo>
                        <a:pt x="218" y="219"/>
                        <a:pt x="223" y="206"/>
                        <a:pt x="202" y="209"/>
                      </a:cubicBezTo>
                      <a:cubicBezTo>
                        <a:pt x="202" y="209"/>
                        <a:pt x="184" y="214"/>
                        <a:pt x="181" y="201"/>
                      </a:cubicBezTo>
                      <a:cubicBezTo>
                        <a:pt x="181" y="201"/>
                        <a:pt x="173" y="181"/>
                        <a:pt x="151" y="197"/>
                      </a:cubicBezTo>
                      <a:cubicBezTo>
                        <a:pt x="142" y="210"/>
                        <a:pt x="143" y="193"/>
                        <a:pt x="119" y="200"/>
                      </a:cubicBezTo>
                      <a:cubicBezTo>
                        <a:pt x="112" y="199"/>
                        <a:pt x="109" y="208"/>
                        <a:pt x="103" y="201"/>
                      </a:cubicBezTo>
                      <a:cubicBezTo>
                        <a:pt x="103" y="201"/>
                        <a:pt x="84" y="192"/>
                        <a:pt x="74" y="204"/>
                      </a:cubicBezTo>
                      <a:cubicBezTo>
                        <a:pt x="74" y="204"/>
                        <a:pt x="63" y="207"/>
                        <a:pt x="54" y="204"/>
                      </a:cubicBezTo>
                      <a:cubicBezTo>
                        <a:pt x="44" y="208"/>
                        <a:pt x="38" y="190"/>
                        <a:pt x="26" y="190"/>
                      </a:cubicBezTo>
                      <a:cubicBezTo>
                        <a:pt x="26" y="190"/>
                        <a:pt x="23" y="197"/>
                        <a:pt x="11" y="194"/>
                      </a:cubicBezTo>
                      <a:cubicBezTo>
                        <a:pt x="0" y="181"/>
                        <a:pt x="10" y="166"/>
                        <a:pt x="10" y="166"/>
                      </a:cubicBezTo>
                      <a:cubicBezTo>
                        <a:pt x="16" y="150"/>
                        <a:pt x="23" y="156"/>
                        <a:pt x="23" y="156"/>
                      </a:cubicBezTo>
                      <a:cubicBezTo>
                        <a:pt x="31" y="169"/>
                        <a:pt x="41" y="154"/>
                        <a:pt x="41" y="154"/>
                      </a:cubicBezTo>
                      <a:cubicBezTo>
                        <a:pt x="57" y="135"/>
                        <a:pt x="63" y="148"/>
                        <a:pt x="69" y="143"/>
                      </a:cubicBezTo>
                      <a:cubicBezTo>
                        <a:pt x="84" y="125"/>
                        <a:pt x="97" y="129"/>
                        <a:pt x="97" y="129"/>
                      </a:cubicBezTo>
                      <a:cubicBezTo>
                        <a:pt x="109" y="132"/>
                        <a:pt x="104" y="123"/>
                        <a:pt x="104" y="123"/>
                      </a:cubicBezTo>
                      <a:cubicBezTo>
                        <a:pt x="100" y="119"/>
                        <a:pt x="109" y="109"/>
                        <a:pt x="109" y="109"/>
                      </a:cubicBezTo>
                      <a:cubicBezTo>
                        <a:pt x="110" y="91"/>
                        <a:pt x="121" y="95"/>
                        <a:pt x="121" y="95"/>
                      </a:cubicBezTo>
                      <a:cubicBezTo>
                        <a:pt x="143" y="91"/>
                        <a:pt x="160" y="96"/>
                        <a:pt x="160" y="96"/>
                      </a:cubicBezTo>
                      <a:cubicBezTo>
                        <a:pt x="164" y="104"/>
                        <a:pt x="174" y="96"/>
                        <a:pt x="174" y="96"/>
                      </a:cubicBezTo>
                      <a:cubicBezTo>
                        <a:pt x="187" y="88"/>
                        <a:pt x="191" y="97"/>
                        <a:pt x="191" y="97"/>
                      </a:cubicBezTo>
                      <a:cubicBezTo>
                        <a:pt x="194" y="105"/>
                        <a:pt x="212" y="93"/>
                        <a:pt x="212" y="93"/>
                      </a:cubicBezTo>
                      <a:cubicBezTo>
                        <a:pt x="211" y="84"/>
                        <a:pt x="220" y="75"/>
                        <a:pt x="220" y="75"/>
                      </a:cubicBezTo>
                      <a:cubicBezTo>
                        <a:pt x="214" y="57"/>
                        <a:pt x="232" y="63"/>
                        <a:pt x="232" y="63"/>
                      </a:cubicBezTo>
                      <a:cubicBezTo>
                        <a:pt x="242" y="57"/>
                        <a:pt x="257" y="66"/>
                        <a:pt x="257" y="66"/>
                      </a:cubicBezTo>
                      <a:cubicBezTo>
                        <a:pt x="261" y="82"/>
                        <a:pt x="270" y="67"/>
                        <a:pt x="270" y="67"/>
                      </a:cubicBezTo>
                      <a:cubicBezTo>
                        <a:pt x="278" y="55"/>
                        <a:pt x="283" y="65"/>
                        <a:pt x="283" y="65"/>
                      </a:cubicBezTo>
                      <a:cubicBezTo>
                        <a:pt x="295" y="71"/>
                        <a:pt x="293" y="56"/>
                        <a:pt x="293" y="56"/>
                      </a:cubicBezTo>
                      <a:cubicBezTo>
                        <a:pt x="292" y="46"/>
                        <a:pt x="301" y="44"/>
                        <a:pt x="301" y="44"/>
                      </a:cubicBezTo>
                      <a:cubicBezTo>
                        <a:pt x="307" y="40"/>
                        <a:pt x="314" y="32"/>
                        <a:pt x="314" y="32"/>
                      </a:cubicBezTo>
                      <a:cubicBezTo>
                        <a:pt x="317" y="40"/>
                        <a:pt x="324" y="40"/>
                        <a:pt x="324" y="40"/>
                      </a:cubicBezTo>
                      <a:cubicBezTo>
                        <a:pt x="336" y="47"/>
                        <a:pt x="337" y="58"/>
                        <a:pt x="337" y="58"/>
                      </a:cubicBezTo>
                      <a:cubicBezTo>
                        <a:pt x="347" y="62"/>
                        <a:pt x="354" y="53"/>
                        <a:pt x="354" y="53"/>
                      </a:cubicBezTo>
                      <a:cubicBezTo>
                        <a:pt x="362" y="49"/>
                        <a:pt x="362" y="61"/>
                        <a:pt x="371" y="51"/>
                      </a:cubicBezTo>
                      <a:cubicBezTo>
                        <a:pt x="378" y="43"/>
                        <a:pt x="371" y="29"/>
                        <a:pt x="371" y="29"/>
                      </a:cubicBezTo>
                      <a:cubicBezTo>
                        <a:pt x="367" y="14"/>
                        <a:pt x="356" y="18"/>
                        <a:pt x="367" y="0"/>
                      </a:cubicBezTo>
                      <a:cubicBezTo>
                        <a:pt x="375" y="2"/>
                        <a:pt x="379" y="9"/>
                        <a:pt x="379" y="9"/>
                      </a:cubicBezTo>
                      <a:cubicBezTo>
                        <a:pt x="403" y="10"/>
                        <a:pt x="409" y="20"/>
                        <a:pt x="409" y="20"/>
                      </a:cubicBezTo>
                      <a:cubicBezTo>
                        <a:pt x="415" y="26"/>
                        <a:pt x="419" y="33"/>
                        <a:pt x="419" y="33"/>
                      </a:cubicBezTo>
                      <a:cubicBezTo>
                        <a:pt x="435" y="33"/>
                        <a:pt x="433" y="44"/>
                        <a:pt x="433" y="44"/>
                      </a:cubicBezTo>
                      <a:cubicBezTo>
                        <a:pt x="437" y="64"/>
                        <a:pt x="445" y="52"/>
                        <a:pt x="451" y="58"/>
                      </a:cubicBezTo>
                      <a:cubicBezTo>
                        <a:pt x="458" y="62"/>
                        <a:pt x="468" y="59"/>
                        <a:pt x="468" y="59"/>
                      </a:cubicBezTo>
                      <a:cubicBezTo>
                        <a:pt x="498" y="54"/>
                        <a:pt x="502" y="67"/>
                        <a:pt x="502" y="67"/>
                      </a:cubicBezTo>
                      <a:cubicBezTo>
                        <a:pt x="502" y="67"/>
                        <a:pt x="502" y="67"/>
                        <a:pt x="502" y="67"/>
                      </a:cubicBezTo>
                      <a:cubicBezTo>
                        <a:pt x="492" y="84"/>
                        <a:pt x="492" y="84"/>
                        <a:pt x="492" y="84"/>
                      </a:cubicBezTo>
                      <a:cubicBezTo>
                        <a:pt x="492" y="84"/>
                        <a:pt x="492" y="84"/>
                        <a:pt x="492" y="84"/>
                      </a:cubicBezTo>
                      <a:cubicBezTo>
                        <a:pt x="492" y="84"/>
                        <a:pt x="488" y="74"/>
                        <a:pt x="472" y="81"/>
                      </a:cubicBezTo>
                      <a:cubicBezTo>
                        <a:pt x="472" y="81"/>
                        <a:pt x="445" y="81"/>
                        <a:pt x="472" y="96"/>
                      </a:cubicBezTo>
                      <a:cubicBezTo>
                        <a:pt x="472" y="96"/>
                        <a:pt x="488" y="95"/>
                        <a:pt x="491" y="102"/>
                      </a:cubicBezTo>
                      <a:cubicBezTo>
                        <a:pt x="491" y="102"/>
                        <a:pt x="490" y="110"/>
                        <a:pt x="478" y="117"/>
                      </a:cubicBezTo>
                      <a:cubicBezTo>
                        <a:pt x="478" y="117"/>
                        <a:pt x="478" y="117"/>
                        <a:pt x="478" y="117"/>
                      </a:cubicBezTo>
                      <a:cubicBezTo>
                        <a:pt x="461" y="123"/>
                        <a:pt x="461" y="123"/>
                        <a:pt x="461" y="123"/>
                      </a:cubicBezTo>
                      <a:cubicBezTo>
                        <a:pt x="461" y="123"/>
                        <a:pt x="461" y="123"/>
                        <a:pt x="461" y="123"/>
                      </a:cubicBezTo>
                      <a:cubicBezTo>
                        <a:pt x="461" y="123"/>
                        <a:pt x="445" y="131"/>
                        <a:pt x="454" y="143"/>
                      </a:cubicBezTo>
                      <a:cubicBezTo>
                        <a:pt x="454" y="143"/>
                        <a:pt x="458" y="147"/>
                        <a:pt x="458" y="164"/>
                      </a:cubicBezTo>
                      <a:cubicBezTo>
                        <a:pt x="458" y="164"/>
                        <a:pt x="467" y="182"/>
                        <a:pt x="444" y="194"/>
                      </a:cubicBezTo>
                      <a:cubicBezTo>
                        <a:pt x="444" y="194"/>
                        <a:pt x="429" y="194"/>
                        <a:pt x="427" y="209"/>
                      </a:cubicBezTo>
                      <a:cubicBezTo>
                        <a:pt x="427" y="209"/>
                        <a:pt x="409" y="212"/>
                        <a:pt x="403" y="227"/>
                      </a:cubicBezTo>
                      <a:cubicBezTo>
                        <a:pt x="403" y="227"/>
                        <a:pt x="403" y="227"/>
                        <a:pt x="403" y="227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6" name="Freeform 39"/>
                <p:cNvSpPr>
                  <a:spLocks/>
                </p:cNvSpPr>
                <p:nvPr/>
              </p:nvSpPr>
              <p:spPr bwMode="auto">
                <a:xfrm>
                  <a:off x="2339557" y="4014345"/>
                  <a:ext cx="1135146" cy="1364318"/>
                </a:xfrm>
                <a:custGeom>
                  <a:avLst/>
                  <a:gdLst/>
                  <a:ahLst/>
                  <a:cxnLst>
                    <a:cxn ang="0">
                      <a:pos x="117" y="19"/>
                    </a:cxn>
                    <a:cxn ang="0">
                      <a:pos x="156" y="23"/>
                    </a:cxn>
                    <a:cxn ang="0">
                      <a:pos x="195" y="16"/>
                    </a:cxn>
                    <a:cxn ang="0">
                      <a:pos x="223" y="1"/>
                    </a:cxn>
                    <a:cxn ang="0">
                      <a:pos x="269" y="15"/>
                    </a:cxn>
                    <a:cxn ang="0">
                      <a:pos x="264" y="47"/>
                    </a:cxn>
                    <a:cxn ang="0">
                      <a:pos x="281" y="93"/>
                    </a:cxn>
                    <a:cxn ang="0">
                      <a:pos x="331" y="118"/>
                    </a:cxn>
                    <a:cxn ang="0">
                      <a:pos x="337" y="166"/>
                    </a:cxn>
                    <a:cxn ang="0">
                      <a:pos x="368" y="190"/>
                    </a:cxn>
                    <a:cxn ang="0">
                      <a:pos x="373" y="228"/>
                    </a:cxn>
                    <a:cxn ang="0">
                      <a:pos x="366" y="247"/>
                    </a:cxn>
                    <a:cxn ang="0">
                      <a:pos x="380" y="286"/>
                    </a:cxn>
                    <a:cxn ang="0">
                      <a:pos x="336" y="299"/>
                    </a:cxn>
                    <a:cxn ang="0">
                      <a:pos x="317" y="342"/>
                    </a:cxn>
                    <a:cxn ang="0">
                      <a:pos x="296" y="379"/>
                    </a:cxn>
                    <a:cxn ang="0">
                      <a:pos x="283" y="357"/>
                    </a:cxn>
                    <a:cxn ang="0">
                      <a:pos x="272" y="346"/>
                    </a:cxn>
                    <a:cxn ang="0">
                      <a:pos x="251" y="351"/>
                    </a:cxn>
                    <a:cxn ang="0">
                      <a:pos x="265" y="360"/>
                    </a:cxn>
                    <a:cxn ang="0">
                      <a:pos x="280" y="379"/>
                    </a:cxn>
                    <a:cxn ang="0">
                      <a:pos x="278" y="405"/>
                    </a:cxn>
                    <a:cxn ang="0">
                      <a:pos x="248" y="426"/>
                    </a:cxn>
                    <a:cxn ang="0">
                      <a:pos x="234" y="434"/>
                    </a:cxn>
                    <a:cxn ang="0">
                      <a:pos x="206" y="450"/>
                    </a:cxn>
                    <a:cxn ang="0">
                      <a:pos x="191" y="463"/>
                    </a:cxn>
                    <a:cxn ang="0">
                      <a:pos x="190" y="448"/>
                    </a:cxn>
                    <a:cxn ang="0">
                      <a:pos x="187" y="438"/>
                    </a:cxn>
                    <a:cxn ang="0">
                      <a:pos x="183" y="485"/>
                    </a:cxn>
                    <a:cxn ang="0">
                      <a:pos x="199" y="519"/>
                    </a:cxn>
                    <a:cxn ang="0">
                      <a:pos x="180" y="517"/>
                    </a:cxn>
                    <a:cxn ang="0">
                      <a:pos x="119" y="513"/>
                    </a:cxn>
                    <a:cxn ang="0">
                      <a:pos x="91" y="531"/>
                    </a:cxn>
                    <a:cxn ang="0">
                      <a:pos x="80" y="522"/>
                    </a:cxn>
                    <a:cxn ang="0">
                      <a:pos x="47" y="534"/>
                    </a:cxn>
                    <a:cxn ang="0">
                      <a:pos x="7" y="497"/>
                    </a:cxn>
                    <a:cxn ang="0">
                      <a:pos x="19" y="485"/>
                    </a:cxn>
                    <a:cxn ang="0">
                      <a:pos x="42" y="462"/>
                    </a:cxn>
                    <a:cxn ang="0">
                      <a:pos x="64" y="431"/>
                    </a:cxn>
                    <a:cxn ang="0">
                      <a:pos x="89" y="402"/>
                    </a:cxn>
                    <a:cxn ang="0">
                      <a:pos x="103" y="375"/>
                    </a:cxn>
                    <a:cxn ang="0">
                      <a:pos x="97" y="347"/>
                    </a:cxn>
                    <a:cxn ang="0">
                      <a:pos x="108" y="310"/>
                    </a:cxn>
                    <a:cxn ang="0">
                      <a:pos x="135" y="320"/>
                    </a:cxn>
                    <a:cxn ang="0">
                      <a:pos x="150" y="319"/>
                    </a:cxn>
                    <a:cxn ang="0">
                      <a:pos x="178" y="324"/>
                    </a:cxn>
                    <a:cxn ang="0">
                      <a:pos x="210" y="331"/>
                    </a:cxn>
                    <a:cxn ang="0">
                      <a:pos x="248" y="330"/>
                    </a:cxn>
                    <a:cxn ang="0">
                      <a:pos x="219" y="303"/>
                    </a:cxn>
                    <a:cxn ang="0">
                      <a:pos x="226" y="265"/>
                    </a:cxn>
                    <a:cxn ang="0">
                      <a:pos x="183" y="226"/>
                    </a:cxn>
                    <a:cxn ang="0">
                      <a:pos x="185" y="206"/>
                    </a:cxn>
                    <a:cxn ang="0">
                      <a:pos x="174" y="197"/>
                    </a:cxn>
                    <a:cxn ang="0">
                      <a:pos x="172" y="158"/>
                    </a:cxn>
                    <a:cxn ang="0">
                      <a:pos x="132" y="138"/>
                    </a:cxn>
                    <a:cxn ang="0">
                      <a:pos x="135" y="96"/>
                    </a:cxn>
                    <a:cxn ang="0">
                      <a:pos x="138" y="71"/>
                    </a:cxn>
                    <a:cxn ang="0">
                      <a:pos x="120" y="41"/>
                    </a:cxn>
                    <a:cxn ang="0">
                      <a:pos x="101" y="35"/>
                    </a:cxn>
                  </a:cxnLst>
                  <a:rect l="0" t="0" r="r" b="b"/>
                  <a:pathLst>
                    <a:path w="401" h="546">
                      <a:moveTo>
                        <a:pt x="101" y="35"/>
                      </a:moveTo>
                      <a:cubicBezTo>
                        <a:pt x="113" y="32"/>
                        <a:pt x="117" y="19"/>
                        <a:pt x="117" y="19"/>
                      </a:cubicBezTo>
                      <a:cubicBezTo>
                        <a:pt x="120" y="0"/>
                        <a:pt x="128" y="17"/>
                        <a:pt x="128" y="17"/>
                      </a:cubicBezTo>
                      <a:cubicBezTo>
                        <a:pt x="138" y="27"/>
                        <a:pt x="156" y="23"/>
                        <a:pt x="156" y="23"/>
                      </a:cubicBezTo>
                      <a:cubicBezTo>
                        <a:pt x="167" y="13"/>
                        <a:pt x="174" y="24"/>
                        <a:pt x="174" y="24"/>
                      </a:cubicBezTo>
                      <a:cubicBezTo>
                        <a:pt x="195" y="27"/>
                        <a:pt x="195" y="16"/>
                        <a:pt x="195" y="16"/>
                      </a:cubicBezTo>
                      <a:cubicBezTo>
                        <a:pt x="193" y="5"/>
                        <a:pt x="208" y="5"/>
                        <a:pt x="208" y="5"/>
                      </a:cubicBezTo>
                      <a:cubicBezTo>
                        <a:pt x="220" y="8"/>
                        <a:pt x="223" y="1"/>
                        <a:pt x="223" y="1"/>
                      </a:cubicBezTo>
                      <a:cubicBezTo>
                        <a:pt x="235" y="1"/>
                        <a:pt x="241" y="19"/>
                        <a:pt x="251" y="15"/>
                      </a:cubicBezTo>
                      <a:cubicBezTo>
                        <a:pt x="260" y="18"/>
                        <a:pt x="269" y="15"/>
                        <a:pt x="269" y="15"/>
                      </a:cubicBezTo>
                      <a:cubicBezTo>
                        <a:pt x="274" y="24"/>
                        <a:pt x="265" y="23"/>
                        <a:pt x="265" y="23"/>
                      </a:cubicBezTo>
                      <a:cubicBezTo>
                        <a:pt x="252" y="32"/>
                        <a:pt x="264" y="47"/>
                        <a:pt x="264" y="47"/>
                      </a:cubicBezTo>
                      <a:cubicBezTo>
                        <a:pt x="274" y="53"/>
                        <a:pt x="272" y="77"/>
                        <a:pt x="272" y="77"/>
                      </a:cubicBezTo>
                      <a:cubicBezTo>
                        <a:pt x="282" y="76"/>
                        <a:pt x="281" y="93"/>
                        <a:pt x="281" y="93"/>
                      </a:cubicBezTo>
                      <a:cubicBezTo>
                        <a:pt x="278" y="118"/>
                        <a:pt x="304" y="110"/>
                        <a:pt x="304" y="110"/>
                      </a:cubicBezTo>
                      <a:cubicBezTo>
                        <a:pt x="321" y="112"/>
                        <a:pt x="331" y="104"/>
                        <a:pt x="331" y="118"/>
                      </a:cubicBezTo>
                      <a:cubicBezTo>
                        <a:pt x="344" y="133"/>
                        <a:pt x="333" y="142"/>
                        <a:pt x="333" y="142"/>
                      </a:cubicBezTo>
                      <a:cubicBezTo>
                        <a:pt x="332" y="152"/>
                        <a:pt x="337" y="166"/>
                        <a:pt x="337" y="166"/>
                      </a:cubicBezTo>
                      <a:cubicBezTo>
                        <a:pt x="339" y="178"/>
                        <a:pt x="359" y="176"/>
                        <a:pt x="359" y="176"/>
                      </a:cubicBezTo>
                      <a:cubicBezTo>
                        <a:pt x="384" y="172"/>
                        <a:pt x="366" y="187"/>
                        <a:pt x="368" y="190"/>
                      </a:cubicBezTo>
                      <a:cubicBezTo>
                        <a:pt x="369" y="196"/>
                        <a:pt x="387" y="196"/>
                        <a:pt x="388" y="203"/>
                      </a:cubicBezTo>
                      <a:cubicBezTo>
                        <a:pt x="401" y="225"/>
                        <a:pt x="373" y="228"/>
                        <a:pt x="373" y="228"/>
                      </a:cubicBezTo>
                      <a:cubicBezTo>
                        <a:pt x="353" y="228"/>
                        <a:pt x="359" y="236"/>
                        <a:pt x="359" y="236"/>
                      </a:cubicBezTo>
                      <a:cubicBezTo>
                        <a:pt x="356" y="243"/>
                        <a:pt x="366" y="247"/>
                        <a:pt x="366" y="247"/>
                      </a:cubicBezTo>
                      <a:cubicBezTo>
                        <a:pt x="376" y="255"/>
                        <a:pt x="373" y="269"/>
                        <a:pt x="373" y="269"/>
                      </a:cubicBezTo>
                      <a:cubicBezTo>
                        <a:pt x="370" y="286"/>
                        <a:pt x="380" y="286"/>
                        <a:pt x="380" y="286"/>
                      </a:cubicBezTo>
                      <a:cubicBezTo>
                        <a:pt x="373" y="293"/>
                        <a:pt x="360" y="294"/>
                        <a:pt x="360" y="294"/>
                      </a:cubicBezTo>
                      <a:cubicBezTo>
                        <a:pt x="355" y="298"/>
                        <a:pt x="336" y="299"/>
                        <a:pt x="336" y="299"/>
                      </a:cubicBezTo>
                      <a:cubicBezTo>
                        <a:pt x="326" y="297"/>
                        <a:pt x="333" y="319"/>
                        <a:pt x="333" y="319"/>
                      </a:cubicBezTo>
                      <a:cubicBezTo>
                        <a:pt x="331" y="336"/>
                        <a:pt x="317" y="342"/>
                        <a:pt x="317" y="342"/>
                      </a:cubicBezTo>
                      <a:cubicBezTo>
                        <a:pt x="319" y="353"/>
                        <a:pt x="309" y="361"/>
                        <a:pt x="309" y="361"/>
                      </a:cubicBezTo>
                      <a:cubicBezTo>
                        <a:pt x="303" y="378"/>
                        <a:pt x="296" y="379"/>
                        <a:pt x="296" y="379"/>
                      </a:cubicBezTo>
                      <a:cubicBezTo>
                        <a:pt x="284" y="371"/>
                        <a:pt x="283" y="357"/>
                        <a:pt x="283" y="357"/>
                      </a:cubicBezTo>
                      <a:cubicBezTo>
                        <a:pt x="283" y="357"/>
                        <a:pt x="283" y="357"/>
                        <a:pt x="283" y="357"/>
                      </a:cubicBezTo>
                      <a:cubicBezTo>
                        <a:pt x="272" y="346"/>
                        <a:pt x="272" y="346"/>
                        <a:pt x="272" y="346"/>
                      </a:cubicBezTo>
                      <a:cubicBezTo>
                        <a:pt x="272" y="346"/>
                        <a:pt x="272" y="346"/>
                        <a:pt x="272" y="346"/>
                      </a:cubicBezTo>
                      <a:cubicBezTo>
                        <a:pt x="271" y="337"/>
                        <a:pt x="260" y="329"/>
                        <a:pt x="250" y="337"/>
                      </a:cubicBezTo>
                      <a:cubicBezTo>
                        <a:pt x="238" y="346"/>
                        <a:pt x="251" y="351"/>
                        <a:pt x="251" y="351"/>
                      </a:cubicBezTo>
                      <a:cubicBezTo>
                        <a:pt x="251" y="351"/>
                        <a:pt x="251" y="351"/>
                        <a:pt x="251" y="351"/>
                      </a:cubicBezTo>
                      <a:cubicBezTo>
                        <a:pt x="265" y="360"/>
                        <a:pt x="265" y="360"/>
                        <a:pt x="265" y="360"/>
                      </a:cubicBezTo>
                      <a:cubicBezTo>
                        <a:pt x="265" y="360"/>
                        <a:pt x="265" y="360"/>
                        <a:pt x="265" y="360"/>
                      </a:cubicBezTo>
                      <a:cubicBezTo>
                        <a:pt x="278" y="366"/>
                        <a:pt x="280" y="379"/>
                        <a:pt x="280" y="379"/>
                      </a:cubicBezTo>
                      <a:cubicBezTo>
                        <a:pt x="293" y="397"/>
                        <a:pt x="278" y="405"/>
                        <a:pt x="278" y="405"/>
                      </a:cubicBezTo>
                      <a:cubicBezTo>
                        <a:pt x="278" y="405"/>
                        <a:pt x="278" y="405"/>
                        <a:pt x="278" y="405"/>
                      </a:cubicBezTo>
                      <a:cubicBezTo>
                        <a:pt x="248" y="437"/>
                        <a:pt x="248" y="437"/>
                        <a:pt x="248" y="437"/>
                      </a:cubicBezTo>
                      <a:cubicBezTo>
                        <a:pt x="248" y="426"/>
                        <a:pt x="248" y="426"/>
                        <a:pt x="248" y="426"/>
                      </a:cubicBezTo>
                      <a:cubicBezTo>
                        <a:pt x="234" y="434"/>
                        <a:pt x="234" y="434"/>
                        <a:pt x="234" y="434"/>
                      </a:cubicBezTo>
                      <a:cubicBezTo>
                        <a:pt x="234" y="434"/>
                        <a:pt x="234" y="434"/>
                        <a:pt x="234" y="434"/>
                      </a:cubicBezTo>
                      <a:cubicBezTo>
                        <a:pt x="219" y="434"/>
                        <a:pt x="220" y="448"/>
                        <a:pt x="220" y="448"/>
                      </a:cubicBezTo>
                      <a:cubicBezTo>
                        <a:pt x="216" y="453"/>
                        <a:pt x="206" y="450"/>
                        <a:pt x="206" y="450"/>
                      </a:cubicBezTo>
                      <a:cubicBezTo>
                        <a:pt x="203" y="456"/>
                        <a:pt x="214" y="457"/>
                        <a:pt x="210" y="466"/>
                      </a:cubicBezTo>
                      <a:cubicBezTo>
                        <a:pt x="199" y="475"/>
                        <a:pt x="191" y="463"/>
                        <a:pt x="191" y="463"/>
                      </a:cubicBezTo>
                      <a:cubicBezTo>
                        <a:pt x="191" y="463"/>
                        <a:pt x="191" y="463"/>
                        <a:pt x="191" y="463"/>
                      </a:cubicBezTo>
                      <a:cubicBezTo>
                        <a:pt x="190" y="448"/>
                        <a:pt x="190" y="448"/>
                        <a:pt x="190" y="448"/>
                      </a:cubicBezTo>
                      <a:cubicBezTo>
                        <a:pt x="187" y="438"/>
                        <a:pt x="187" y="438"/>
                        <a:pt x="187" y="438"/>
                      </a:cubicBezTo>
                      <a:cubicBezTo>
                        <a:pt x="187" y="438"/>
                        <a:pt x="187" y="438"/>
                        <a:pt x="187" y="438"/>
                      </a:cubicBezTo>
                      <a:cubicBezTo>
                        <a:pt x="179" y="443"/>
                        <a:pt x="183" y="458"/>
                        <a:pt x="183" y="458"/>
                      </a:cubicBezTo>
                      <a:cubicBezTo>
                        <a:pt x="175" y="474"/>
                        <a:pt x="183" y="485"/>
                        <a:pt x="183" y="485"/>
                      </a:cubicBezTo>
                      <a:cubicBezTo>
                        <a:pt x="179" y="505"/>
                        <a:pt x="189" y="500"/>
                        <a:pt x="189" y="500"/>
                      </a:cubicBezTo>
                      <a:cubicBezTo>
                        <a:pt x="201" y="498"/>
                        <a:pt x="199" y="519"/>
                        <a:pt x="199" y="519"/>
                      </a:cubicBezTo>
                      <a:cubicBezTo>
                        <a:pt x="197" y="544"/>
                        <a:pt x="185" y="544"/>
                        <a:pt x="185" y="544"/>
                      </a:cubicBezTo>
                      <a:cubicBezTo>
                        <a:pt x="185" y="544"/>
                        <a:pt x="190" y="525"/>
                        <a:pt x="180" y="517"/>
                      </a:cubicBezTo>
                      <a:cubicBezTo>
                        <a:pt x="180" y="517"/>
                        <a:pt x="179" y="506"/>
                        <a:pt x="158" y="503"/>
                      </a:cubicBezTo>
                      <a:cubicBezTo>
                        <a:pt x="158" y="503"/>
                        <a:pt x="131" y="498"/>
                        <a:pt x="119" y="513"/>
                      </a:cubicBezTo>
                      <a:cubicBezTo>
                        <a:pt x="119" y="513"/>
                        <a:pt x="98" y="514"/>
                        <a:pt x="91" y="531"/>
                      </a:cubicBezTo>
                      <a:cubicBezTo>
                        <a:pt x="91" y="531"/>
                        <a:pt x="91" y="531"/>
                        <a:pt x="91" y="531"/>
                      </a:cubicBezTo>
                      <a:cubicBezTo>
                        <a:pt x="80" y="522"/>
                        <a:pt x="80" y="522"/>
                        <a:pt x="80" y="522"/>
                      </a:cubicBezTo>
                      <a:cubicBezTo>
                        <a:pt x="80" y="522"/>
                        <a:pt x="80" y="522"/>
                        <a:pt x="80" y="522"/>
                      </a:cubicBezTo>
                      <a:cubicBezTo>
                        <a:pt x="80" y="522"/>
                        <a:pt x="69" y="525"/>
                        <a:pt x="73" y="532"/>
                      </a:cubicBezTo>
                      <a:cubicBezTo>
                        <a:pt x="73" y="532"/>
                        <a:pt x="73" y="546"/>
                        <a:pt x="47" y="534"/>
                      </a:cubicBezTo>
                      <a:cubicBezTo>
                        <a:pt x="36" y="522"/>
                        <a:pt x="25" y="529"/>
                        <a:pt x="18" y="519"/>
                      </a:cubicBezTo>
                      <a:cubicBezTo>
                        <a:pt x="18" y="519"/>
                        <a:pt x="7" y="514"/>
                        <a:pt x="7" y="497"/>
                      </a:cubicBezTo>
                      <a:cubicBezTo>
                        <a:pt x="7" y="497"/>
                        <a:pt x="1" y="498"/>
                        <a:pt x="0" y="492"/>
                      </a:cubicBezTo>
                      <a:cubicBezTo>
                        <a:pt x="0" y="492"/>
                        <a:pt x="8" y="477"/>
                        <a:pt x="19" y="485"/>
                      </a:cubicBezTo>
                      <a:cubicBezTo>
                        <a:pt x="19" y="485"/>
                        <a:pt x="25" y="481"/>
                        <a:pt x="33" y="485"/>
                      </a:cubicBezTo>
                      <a:cubicBezTo>
                        <a:pt x="33" y="485"/>
                        <a:pt x="47" y="489"/>
                        <a:pt x="42" y="462"/>
                      </a:cubicBezTo>
                      <a:cubicBezTo>
                        <a:pt x="42" y="462"/>
                        <a:pt x="27" y="459"/>
                        <a:pt x="51" y="444"/>
                      </a:cubicBezTo>
                      <a:cubicBezTo>
                        <a:pt x="51" y="444"/>
                        <a:pt x="63" y="440"/>
                        <a:pt x="64" y="431"/>
                      </a:cubicBezTo>
                      <a:cubicBezTo>
                        <a:pt x="64" y="431"/>
                        <a:pt x="76" y="434"/>
                        <a:pt x="73" y="417"/>
                      </a:cubicBezTo>
                      <a:cubicBezTo>
                        <a:pt x="73" y="417"/>
                        <a:pt x="65" y="404"/>
                        <a:pt x="89" y="402"/>
                      </a:cubicBezTo>
                      <a:cubicBezTo>
                        <a:pt x="89" y="402"/>
                        <a:pt x="102" y="401"/>
                        <a:pt x="100" y="390"/>
                      </a:cubicBezTo>
                      <a:cubicBezTo>
                        <a:pt x="100" y="390"/>
                        <a:pt x="93" y="382"/>
                        <a:pt x="103" y="375"/>
                      </a:cubicBezTo>
                      <a:cubicBezTo>
                        <a:pt x="103" y="375"/>
                        <a:pt x="117" y="366"/>
                        <a:pt x="103" y="358"/>
                      </a:cubicBezTo>
                      <a:cubicBezTo>
                        <a:pt x="103" y="358"/>
                        <a:pt x="97" y="357"/>
                        <a:pt x="97" y="347"/>
                      </a:cubicBezTo>
                      <a:cubicBezTo>
                        <a:pt x="97" y="347"/>
                        <a:pt x="105" y="342"/>
                        <a:pt x="97" y="330"/>
                      </a:cubicBezTo>
                      <a:cubicBezTo>
                        <a:pt x="97" y="330"/>
                        <a:pt x="93" y="319"/>
                        <a:pt x="108" y="310"/>
                      </a:cubicBezTo>
                      <a:cubicBezTo>
                        <a:pt x="108" y="310"/>
                        <a:pt x="118" y="310"/>
                        <a:pt x="124" y="303"/>
                      </a:cubicBezTo>
                      <a:cubicBezTo>
                        <a:pt x="124" y="303"/>
                        <a:pt x="135" y="294"/>
                        <a:pt x="135" y="320"/>
                      </a:cubicBezTo>
                      <a:cubicBezTo>
                        <a:pt x="128" y="337"/>
                        <a:pt x="145" y="331"/>
                        <a:pt x="143" y="324"/>
                      </a:cubicBezTo>
                      <a:cubicBezTo>
                        <a:pt x="143" y="324"/>
                        <a:pt x="145" y="310"/>
                        <a:pt x="150" y="319"/>
                      </a:cubicBezTo>
                      <a:cubicBezTo>
                        <a:pt x="150" y="319"/>
                        <a:pt x="152" y="324"/>
                        <a:pt x="161" y="316"/>
                      </a:cubicBezTo>
                      <a:cubicBezTo>
                        <a:pt x="168" y="306"/>
                        <a:pt x="166" y="324"/>
                        <a:pt x="178" y="324"/>
                      </a:cubicBezTo>
                      <a:cubicBezTo>
                        <a:pt x="178" y="337"/>
                        <a:pt x="191" y="337"/>
                        <a:pt x="191" y="326"/>
                      </a:cubicBezTo>
                      <a:cubicBezTo>
                        <a:pt x="191" y="326"/>
                        <a:pt x="202" y="310"/>
                        <a:pt x="210" y="331"/>
                      </a:cubicBezTo>
                      <a:cubicBezTo>
                        <a:pt x="210" y="331"/>
                        <a:pt x="210" y="348"/>
                        <a:pt x="220" y="332"/>
                      </a:cubicBezTo>
                      <a:cubicBezTo>
                        <a:pt x="220" y="332"/>
                        <a:pt x="244" y="335"/>
                        <a:pt x="248" y="330"/>
                      </a:cubicBezTo>
                      <a:cubicBezTo>
                        <a:pt x="248" y="330"/>
                        <a:pt x="241" y="318"/>
                        <a:pt x="234" y="320"/>
                      </a:cubicBezTo>
                      <a:cubicBezTo>
                        <a:pt x="232" y="312"/>
                        <a:pt x="216" y="309"/>
                        <a:pt x="219" y="303"/>
                      </a:cubicBezTo>
                      <a:cubicBezTo>
                        <a:pt x="219" y="303"/>
                        <a:pt x="229" y="304"/>
                        <a:pt x="226" y="286"/>
                      </a:cubicBezTo>
                      <a:cubicBezTo>
                        <a:pt x="226" y="286"/>
                        <a:pt x="230" y="271"/>
                        <a:pt x="226" y="265"/>
                      </a:cubicBezTo>
                      <a:cubicBezTo>
                        <a:pt x="226" y="265"/>
                        <a:pt x="230" y="248"/>
                        <a:pt x="201" y="243"/>
                      </a:cubicBezTo>
                      <a:cubicBezTo>
                        <a:pt x="193" y="231"/>
                        <a:pt x="186" y="236"/>
                        <a:pt x="183" y="226"/>
                      </a:cubicBezTo>
                      <a:cubicBezTo>
                        <a:pt x="183" y="226"/>
                        <a:pt x="183" y="226"/>
                        <a:pt x="183" y="226"/>
                      </a:cubicBezTo>
                      <a:cubicBezTo>
                        <a:pt x="185" y="206"/>
                        <a:pt x="185" y="206"/>
                        <a:pt x="185" y="206"/>
                      </a:cubicBezTo>
                      <a:cubicBezTo>
                        <a:pt x="185" y="206"/>
                        <a:pt x="185" y="206"/>
                        <a:pt x="185" y="206"/>
                      </a:cubicBezTo>
                      <a:cubicBezTo>
                        <a:pt x="185" y="206"/>
                        <a:pt x="165" y="201"/>
                        <a:pt x="174" y="197"/>
                      </a:cubicBezTo>
                      <a:cubicBezTo>
                        <a:pt x="183" y="198"/>
                        <a:pt x="175" y="179"/>
                        <a:pt x="181" y="175"/>
                      </a:cubicBezTo>
                      <a:cubicBezTo>
                        <a:pt x="181" y="175"/>
                        <a:pt x="189" y="153"/>
                        <a:pt x="172" y="158"/>
                      </a:cubicBezTo>
                      <a:cubicBezTo>
                        <a:pt x="172" y="166"/>
                        <a:pt x="156" y="174"/>
                        <a:pt x="155" y="156"/>
                      </a:cubicBezTo>
                      <a:cubicBezTo>
                        <a:pt x="155" y="156"/>
                        <a:pt x="151" y="137"/>
                        <a:pt x="132" y="138"/>
                      </a:cubicBezTo>
                      <a:cubicBezTo>
                        <a:pt x="132" y="138"/>
                        <a:pt x="125" y="132"/>
                        <a:pt x="128" y="115"/>
                      </a:cubicBezTo>
                      <a:cubicBezTo>
                        <a:pt x="128" y="115"/>
                        <a:pt x="139" y="108"/>
                        <a:pt x="135" y="96"/>
                      </a:cubicBezTo>
                      <a:cubicBezTo>
                        <a:pt x="135" y="96"/>
                        <a:pt x="134" y="86"/>
                        <a:pt x="139" y="84"/>
                      </a:cubicBezTo>
                      <a:cubicBezTo>
                        <a:pt x="139" y="84"/>
                        <a:pt x="148" y="80"/>
                        <a:pt x="138" y="71"/>
                      </a:cubicBezTo>
                      <a:cubicBezTo>
                        <a:pt x="135" y="64"/>
                        <a:pt x="150" y="70"/>
                        <a:pt x="135" y="49"/>
                      </a:cubicBezTo>
                      <a:cubicBezTo>
                        <a:pt x="135" y="49"/>
                        <a:pt x="133" y="33"/>
                        <a:pt x="120" y="41"/>
                      </a:cubicBezTo>
                      <a:cubicBezTo>
                        <a:pt x="120" y="41"/>
                        <a:pt x="118" y="60"/>
                        <a:pt x="101" y="35"/>
                      </a:cubicBezTo>
                      <a:cubicBezTo>
                        <a:pt x="101" y="35"/>
                        <a:pt x="101" y="35"/>
                        <a:pt x="101" y="35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7" name="Freeform 38"/>
                <p:cNvSpPr>
                  <a:spLocks/>
                </p:cNvSpPr>
                <p:nvPr/>
              </p:nvSpPr>
              <p:spPr bwMode="auto">
                <a:xfrm>
                  <a:off x="3052766" y="4047882"/>
                  <a:ext cx="1038509" cy="760638"/>
                </a:xfrm>
                <a:custGeom>
                  <a:avLst/>
                  <a:gdLst/>
                  <a:ahLst/>
                  <a:cxnLst>
                    <a:cxn ang="0">
                      <a:pos x="121" y="277"/>
                    </a:cxn>
                    <a:cxn ang="0">
                      <a:pos x="107" y="244"/>
                    </a:cxn>
                    <a:cxn ang="0">
                      <a:pos x="136" y="211"/>
                    </a:cxn>
                    <a:cxn ang="0">
                      <a:pos x="107" y="184"/>
                    </a:cxn>
                    <a:cxn ang="0">
                      <a:pos x="81" y="150"/>
                    </a:cxn>
                    <a:cxn ang="0">
                      <a:pos x="52" y="118"/>
                    </a:cxn>
                    <a:cxn ang="0">
                      <a:pos x="20" y="85"/>
                    </a:cxn>
                    <a:cxn ang="0">
                      <a:pos x="13" y="31"/>
                    </a:cxn>
                    <a:cxn ang="0">
                      <a:pos x="48" y="20"/>
                    </a:cxn>
                    <a:cxn ang="0">
                      <a:pos x="96" y="16"/>
                    </a:cxn>
                    <a:cxn ang="0">
                      <a:pos x="147" y="28"/>
                    </a:cxn>
                    <a:cxn ang="0">
                      <a:pos x="182" y="31"/>
                    </a:cxn>
                    <a:cxn ang="0">
                      <a:pos x="198" y="59"/>
                    </a:cxn>
                    <a:cxn ang="0">
                      <a:pos x="217" y="86"/>
                    </a:cxn>
                    <a:cxn ang="0">
                      <a:pos x="249" y="86"/>
                    </a:cxn>
                    <a:cxn ang="0">
                      <a:pos x="303" y="68"/>
                    </a:cxn>
                    <a:cxn ang="0">
                      <a:pos x="348" y="46"/>
                    </a:cxn>
                    <a:cxn ang="0">
                      <a:pos x="352" y="75"/>
                    </a:cxn>
                    <a:cxn ang="0">
                      <a:pos x="348" y="110"/>
                    </a:cxn>
                    <a:cxn ang="0">
                      <a:pos x="361" y="140"/>
                    </a:cxn>
                    <a:cxn ang="0">
                      <a:pos x="348" y="156"/>
                    </a:cxn>
                    <a:cxn ang="0">
                      <a:pos x="362" y="181"/>
                    </a:cxn>
                    <a:cxn ang="0">
                      <a:pos x="340" y="215"/>
                    </a:cxn>
                    <a:cxn ang="0">
                      <a:pos x="341" y="233"/>
                    </a:cxn>
                    <a:cxn ang="0">
                      <a:pos x="327" y="250"/>
                    </a:cxn>
                    <a:cxn ang="0">
                      <a:pos x="312" y="258"/>
                    </a:cxn>
                    <a:cxn ang="0">
                      <a:pos x="269" y="266"/>
                    </a:cxn>
                    <a:cxn ang="0">
                      <a:pos x="224" y="280"/>
                    </a:cxn>
                    <a:cxn ang="0">
                      <a:pos x="214" y="273"/>
                    </a:cxn>
                    <a:cxn ang="0">
                      <a:pos x="191" y="294"/>
                    </a:cxn>
                    <a:cxn ang="0">
                      <a:pos x="166" y="299"/>
                    </a:cxn>
                    <a:cxn ang="0">
                      <a:pos x="174" y="274"/>
                    </a:cxn>
                    <a:cxn ang="0">
                      <a:pos x="127" y="294"/>
                    </a:cxn>
                  </a:cxnLst>
                  <a:rect l="0" t="0" r="r" b="b"/>
                  <a:pathLst>
                    <a:path w="367" h="304">
                      <a:moveTo>
                        <a:pt x="127" y="294"/>
                      </a:moveTo>
                      <a:cubicBezTo>
                        <a:pt x="127" y="294"/>
                        <a:pt x="118" y="294"/>
                        <a:pt x="121" y="277"/>
                      </a:cubicBezTo>
                      <a:cubicBezTo>
                        <a:pt x="121" y="277"/>
                        <a:pt x="124" y="263"/>
                        <a:pt x="114" y="255"/>
                      </a:cubicBezTo>
                      <a:cubicBezTo>
                        <a:pt x="114" y="255"/>
                        <a:pt x="104" y="251"/>
                        <a:pt x="107" y="244"/>
                      </a:cubicBezTo>
                      <a:cubicBezTo>
                        <a:pt x="107" y="244"/>
                        <a:pt x="101" y="236"/>
                        <a:pt x="121" y="236"/>
                      </a:cubicBezTo>
                      <a:cubicBezTo>
                        <a:pt x="121" y="236"/>
                        <a:pt x="149" y="233"/>
                        <a:pt x="136" y="211"/>
                      </a:cubicBezTo>
                      <a:cubicBezTo>
                        <a:pt x="135" y="204"/>
                        <a:pt x="117" y="204"/>
                        <a:pt x="116" y="198"/>
                      </a:cubicBezTo>
                      <a:cubicBezTo>
                        <a:pt x="114" y="195"/>
                        <a:pt x="132" y="180"/>
                        <a:pt x="107" y="184"/>
                      </a:cubicBezTo>
                      <a:cubicBezTo>
                        <a:pt x="107" y="184"/>
                        <a:pt x="87" y="186"/>
                        <a:pt x="85" y="174"/>
                      </a:cubicBezTo>
                      <a:cubicBezTo>
                        <a:pt x="85" y="174"/>
                        <a:pt x="80" y="160"/>
                        <a:pt x="81" y="150"/>
                      </a:cubicBezTo>
                      <a:cubicBezTo>
                        <a:pt x="81" y="150"/>
                        <a:pt x="92" y="141"/>
                        <a:pt x="79" y="126"/>
                      </a:cubicBezTo>
                      <a:cubicBezTo>
                        <a:pt x="79" y="112"/>
                        <a:pt x="69" y="120"/>
                        <a:pt x="52" y="118"/>
                      </a:cubicBezTo>
                      <a:cubicBezTo>
                        <a:pt x="52" y="118"/>
                        <a:pt x="26" y="126"/>
                        <a:pt x="29" y="101"/>
                      </a:cubicBezTo>
                      <a:cubicBezTo>
                        <a:pt x="29" y="101"/>
                        <a:pt x="30" y="84"/>
                        <a:pt x="20" y="85"/>
                      </a:cubicBezTo>
                      <a:cubicBezTo>
                        <a:pt x="20" y="85"/>
                        <a:pt x="22" y="61"/>
                        <a:pt x="12" y="55"/>
                      </a:cubicBezTo>
                      <a:cubicBezTo>
                        <a:pt x="12" y="55"/>
                        <a:pt x="0" y="40"/>
                        <a:pt x="13" y="31"/>
                      </a:cubicBezTo>
                      <a:cubicBezTo>
                        <a:pt x="13" y="31"/>
                        <a:pt x="22" y="33"/>
                        <a:pt x="18" y="24"/>
                      </a:cubicBezTo>
                      <a:cubicBezTo>
                        <a:pt x="28" y="12"/>
                        <a:pt x="48" y="20"/>
                        <a:pt x="48" y="20"/>
                      </a:cubicBezTo>
                      <a:cubicBezTo>
                        <a:pt x="54" y="27"/>
                        <a:pt x="57" y="18"/>
                        <a:pt x="64" y="19"/>
                      </a:cubicBezTo>
                      <a:cubicBezTo>
                        <a:pt x="88" y="12"/>
                        <a:pt x="87" y="29"/>
                        <a:pt x="96" y="16"/>
                      </a:cubicBezTo>
                      <a:cubicBezTo>
                        <a:pt x="118" y="0"/>
                        <a:pt x="126" y="20"/>
                        <a:pt x="126" y="20"/>
                      </a:cubicBezTo>
                      <a:cubicBezTo>
                        <a:pt x="129" y="33"/>
                        <a:pt x="147" y="28"/>
                        <a:pt x="147" y="28"/>
                      </a:cubicBezTo>
                      <a:cubicBezTo>
                        <a:pt x="168" y="25"/>
                        <a:pt x="163" y="38"/>
                        <a:pt x="163" y="38"/>
                      </a:cubicBezTo>
                      <a:cubicBezTo>
                        <a:pt x="177" y="23"/>
                        <a:pt x="182" y="31"/>
                        <a:pt x="182" y="31"/>
                      </a:cubicBezTo>
                      <a:cubicBezTo>
                        <a:pt x="204" y="33"/>
                        <a:pt x="191" y="44"/>
                        <a:pt x="191" y="44"/>
                      </a:cubicBezTo>
                      <a:cubicBezTo>
                        <a:pt x="180" y="47"/>
                        <a:pt x="198" y="59"/>
                        <a:pt x="198" y="59"/>
                      </a:cubicBezTo>
                      <a:cubicBezTo>
                        <a:pt x="208" y="63"/>
                        <a:pt x="208" y="75"/>
                        <a:pt x="208" y="75"/>
                      </a:cubicBezTo>
                      <a:cubicBezTo>
                        <a:pt x="200" y="92"/>
                        <a:pt x="217" y="86"/>
                        <a:pt x="217" y="86"/>
                      </a:cubicBezTo>
                      <a:cubicBezTo>
                        <a:pt x="227" y="76"/>
                        <a:pt x="234" y="90"/>
                        <a:pt x="234" y="90"/>
                      </a:cubicBezTo>
                      <a:cubicBezTo>
                        <a:pt x="237" y="104"/>
                        <a:pt x="249" y="86"/>
                        <a:pt x="249" y="86"/>
                      </a:cubicBezTo>
                      <a:cubicBezTo>
                        <a:pt x="255" y="72"/>
                        <a:pt x="273" y="86"/>
                        <a:pt x="273" y="86"/>
                      </a:cubicBezTo>
                      <a:cubicBezTo>
                        <a:pt x="310" y="92"/>
                        <a:pt x="303" y="68"/>
                        <a:pt x="303" y="68"/>
                      </a:cubicBezTo>
                      <a:cubicBezTo>
                        <a:pt x="303" y="42"/>
                        <a:pt x="320" y="50"/>
                        <a:pt x="320" y="50"/>
                      </a:cubicBezTo>
                      <a:cubicBezTo>
                        <a:pt x="334" y="55"/>
                        <a:pt x="330" y="28"/>
                        <a:pt x="348" y="46"/>
                      </a:cubicBezTo>
                      <a:cubicBezTo>
                        <a:pt x="348" y="46"/>
                        <a:pt x="345" y="53"/>
                        <a:pt x="349" y="60"/>
                      </a:cubicBezTo>
                      <a:cubicBezTo>
                        <a:pt x="349" y="60"/>
                        <a:pt x="356" y="64"/>
                        <a:pt x="352" y="75"/>
                      </a:cubicBezTo>
                      <a:cubicBezTo>
                        <a:pt x="352" y="75"/>
                        <a:pt x="358" y="91"/>
                        <a:pt x="351" y="96"/>
                      </a:cubicBezTo>
                      <a:cubicBezTo>
                        <a:pt x="351" y="96"/>
                        <a:pt x="337" y="94"/>
                        <a:pt x="348" y="110"/>
                      </a:cubicBezTo>
                      <a:cubicBezTo>
                        <a:pt x="348" y="110"/>
                        <a:pt x="343" y="119"/>
                        <a:pt x="357" y="123"/>
                      </a:cubicBezTo>
                      <a:cubicBezTo>
                        <a:pt x="356" y="132"/>
                        <a:pt x="365" y="133"/>
                        <a:pt x="361" y="140"/>
                      </a:cubicBezTo>
                      <a:cubicBezTo>
                        <a:pt x="361" y="140"/>
                        <a:pt x="367" y="154"/>
                        <a:pt x="353" y="149"/>
                      </a:cubicBezTo>
                      <a:cubicBezTo>
                        <a:pt x="353" y="149"/>
                        <a:pt x="348" y="150"/>
                        <a:pt x="348" y="156"/>
                      </a:cubicBezTo>
                      <a:cubicBezTo>
                        <a:pt x="348" y="156"/>
                        <a:pt x="360" y="157"/>
                        <a:pt x="361" y="161"/>
                      </a:cubicBezTo>
                      <a:cubicBezTo>
                        <a:pt x="361" y="161"/>
                        <a:pt x="363" y="171"/>
                        <a:pt x="362" y="181"/>
                      </a:cubicBezTo>
                      <a:cubicBezTo>
                        <a:pt x="362" y="181"/>
                        <a:pt x="367" y="194"/>
                        <a:pt x="348" y="196"/>
                      </a:cubicBezTo>
                      <a:cubicBezTo>
                        <a:pt x="348" y="196"/>
                        <a:pt x="334" y="202"/>
                        <a:pt x="340" y="215"/>
                      </a:cubicBezTo>
                      <a:cubicBezTo>
                        <a:pt x="338" y="218"/>
                        <a:pt x="356" y="218"/>
                        <a:pt x="356" y="225"/>
                      </a:cubicBezTo>
                      <a:cubicBezTo>
                        <a:pt x="357" y="237"/>
                        <a:pt x="338" y="225"/>
                        <a:pt x="341" y="233"/>
                      </a:cubicBezTo>
                      <a:cubicBezTo>
                        <a:pt x="341" y="233"/>
                        <a:pt x="351" y="236"/>
                        <a:pt x="346" y="240"/>
                      </a:cubicBezTo>
                      <a:cubicBezTo>
                        <a:pt x="346" y="240"/>
                        <a:pt x="340" y="247"/>
                        <a:pt x="327" y="250"/>
                      </a:cubicBezTo>
                      <a:cubicBezTo>
                        <a:pt x="327" y="250"/>
                        <a:pt x="348" y="252"/>
                        <a:pt x="331" y="257"/>
                      </a:cubicBezTo>
                      <a:cubicBezTo>
                        <a:pt x="331" y="257"/>
                        <a:pt x="317" y="263"/>
                        <a:pt x="312" y="258"/>
                      </a:cubicBezTo>
                      <a:cubicBezTo>
                        <a:pt x="312" y="258"/>
                        <a:pt x="295" y="249"/>
                        <a:pt x="290" y="262"/>
                      </a:cubicBezTo>
                      <a:cubicBezTo>
                        <a:pt x="280" y="266"/>
                        <a:pt x="273" y="253"/>
                        <a:pt x="269" y="266"/>
                      </a:cubicBezTo>
                      <a:cubicBezTo>
                        <a:pt x="269" y="266"/>
                        <a:pt x="257" y="258"/>
                        <a:pt x="246" y="277"/>
                      </a:cubicBezTo>
                      <a:cubicBezTo>
                        <a:pt x="246" y="277"/>
                        <a:pt x="227" y="275"/>
                        <a:pt x="224" y="280"/>
                      </a:cubicBezTo>
                      <a:cubicBezTo>
                        <a:pt x="218" y="257"/>
                        <a:pt x="229" y="240"/>
                        <a:pt x="229" y="240"/>
                      </a:cubicBezTo>
                      <a:cubicBezTo>
                        <a:pt x="209" y="264"/>
                        <a:pt x="214" y="273"/>
                        <a:pt x="214" y="273"/>
                      </a:cubicBezTo>
                      <a:cubicBezTo>
                        <a:pt x="222" y="304"/>
                        <a:pt x="210" y="300"/>
                        <a:pt x="210" y="300"/>
                      </a:cubicBezTo>
                      <a:cubicBezTo>
                        <a:pt x="204" y="302"/>
                        <a:pt x="191" y="294"/>
                        <a:pt x="191" y="294"/>
                      </a:cubicBezTo>
                      <a:cubicBezTo>
                        <a:pt x="180" y="298"/>
                        <a:pt x="166" y="299"/>
                        <a:pt x="166" y="299"/>
                      </a:cubicBezTo>
                      <a:cubicBezTo>
                        <a:pt x="166" y="299"/>
                        <a:pt x="166" y="299"/>
                        <a:pt x="166" y="299"/>
                      </a:cubicBezTo>
                      <a:cubicBezTo>
                        <a:pt x="174" y="274"/>
                        <a:pt x="174" y="274"/>
                        <a:pt x="174" y="274"/>
                      </a:cubicBezTo>
                      <a:cubicBezTo>
                        <a:pt x="174" y="274"/>
                        <a:pt x="174" y="274"/>
                        <a:pt x="174" y="274"/>
                      </a:cubicBezTo>
                      <a:cubicBezTo>
                        <a:pt x="165" y="292"/>
                        <a:pt x="152" y="301"/>
                        <a:pt x="152" y="301"/>
                      </a:cubicBezTo>
                      <a:cubicBezTo>
                        <a:pt x="142" y="304"/>
                        <a:pt x="127" y="294"/>
                        <a:pt x="127" y="294"/>
                      </a:cubicBezTo>
                      <a:cubicBezTo>
                        <a:pt x="127" y="294"/>
                        <a:pt x="127" y="294"/>
                        <a:pt x="127" y="294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8" name="Freeform 37"/>
                <p:cNvSpPr>
                  <a:spLocks/>
                </p:cNvSpPr>
                <p:nvPr/>
              </p:nvSpPr>
              <p:spPr bwMode="auto">
                <a:xfrm>
                  <a:off x="4460129" y="4053248"/>
                  <a:ext cx="1052119" cy="859910"/>
                </a:xfrm>
                <a:custGeom>
                  <a:avLst/>
                  <a:gdLst/>
                  <a:ahLst/>
                  <a:cxnLst>
                    <a:cxn ang="0">
                      <a:pos x="15" y="128"/>
                    </a:cxn>
                    <a:cxn ang="0">
                      <a:pos x="60" y="117"/>
                    </a:cxn>
                    <a:cxn ang="0">
                      <a:pos x="82" y="106"/>
                    </a:cxn>
                    <a:cxn ang="0">
                      <a:pos x="79" y="66"/>
                    </a:cxn>
                    <a:cxn ang="0">
                      <a:pos x="78" y="43"/>
                    </a:cxn>
                    <a:cxn ang="0">
                      <a:pos x="69" y="25"/>
                    </a:cxn>
                    <a:cxn ang="0">
                      <a:pos x="102" y="11"/>
                    </a:cxn>
                    <a:cxn ang="0">
                      <a:pos x="112" y="11"/>
                    </a:cxn>
                    <a:cxn ang="0">
                      <a:pos x="157" y="11"/>
                    </a:cxn>
                    <a:cxn ang="0">
                      <a:pos x="194" y="15"/>
                    </a:cxn>
                    <a:cxn ang="0">
                      <a:pos x="214" y="15"/>
                    </a:cxn>
                    <a:cxn ang="0">
                      <a:pos x="222" y="48"/>
                    </a:cxn>
                    <a:cxn ang="0">
                      <a:pos x="245" y="55"/>
                    </a:cxn>
                    <a:cxn ang="0">
                      <a:pos x="269" y="53"/>
                    </a:cxn>
                    <a:cxn ang="0">
                      <a:pos x="290" y="59"/>
                    </a:cxn>
                    <a:cxn ang="0">
                      <a:pos x="308" y="89"/>
                    </a:cxn>
                    <a:cxn ang="0">
                      <a:pos x="338" y="100"/>
                    </a:cxn>
                    <a:cxn ang="0">
                      <a:pos x="366" y="121"/>
                    </a:cxn>
                    <a:cxn ang="0">
                      <a:pos x="354" y="135"/>
                    </a:cxn>
                    <a:cxn ang="0">
                      <a:pos x="334" y="154"/>
                    </a:cxn>
                    <a:cxn ang="0">
                      <a:pos x="347" y="186"/>
                    </a:cxn>
                    <a:cxn ang="0">
                      <a:pos x="358" y="204"/>
                    </a:cxn>
                    <a:cxn ang="0">
                      <a:pos x="328" y="245"/>
                    </a:cxn>
                    <a:cxn ang="0">
                      <a:pos x="234" y="267"/>
                    </a:cxn>
                    <a:cxn ang="0">
                      <a:pos x="178" y="309"/>
                    </a:cxn>
                    <a:cxn ang="0">
                      <a:pos x="152" y="333"/>
                    </a:cxn>
                    <a:cxn ang="0">
                      <a:pos x="145" y="322"/>
                    </a:cxn>
                    <a:cxn ang="0">
                      <a:pos x="125" y="343"/>
                    </a:cxn>
                    <a:cxn ang="0">
                      <a:pos x="101" y="311"/>
                    </a:cxn>
                    <a:cxn ang="0">
                      <a:pos x="72" y="287"/>
                    </a:cxn>
                    <a:cxn ang="0">
                      <a:pos x="65" y="264"/>
                    </a:cxn>
                    <a:cxn ang="0">
                      <a:pos x="70" y="237"/>
                    </a:cxn>
                    <a:cxn ang="0">
                      <a:pos x="50" y="220"/>
                    </a:cxn>
                    <a:cxn ang="0">
                      <a:pos x="37" y="176"/>
                    </a:cxn>
                    <a:cxn ang="0">
                      <a:pos x="9" y="158"/>
                    </a:cxn>
                    <a:cxn ang="0">
                      <a:pos x="0" y="133"/>
                    </a:cxn>
                  </a:cxnLst>
                  <a:rect l="0" t="0" r="r" b="b"/>
                  <a:pathLst>
                    <a:path w="372" h="344">
                      <a:moveTo>
                        <a:pt x="0" y="133"/>
                      </a:moveTo>
                      <a:cubicBezTo>
                        <a:pt x="0" y="133"/>
                        <a:pt x="5" y="128"/>
                        <a:pt x="15" y="128"/>
                      </a:cubicBezTo>
                      <a:cubicBezTo>
                        <a:pt x="15" y="128"/>
                        <a:pt x="27" y="125"/>
                        <a:pt x="32" y="119"/>
                      </a:cubicBezTo>
                      <a:cubicBezTo>
                        <a:pt x="32" y="119"/>
                        <a:pt x="43" y="110"/>
                        <a:pt x="60" y="117"/>
                      </a:cubicBezTo>
                      <a:cubicBezTo>
                        <a:pt x="60" y="117"/>
                        <a:pt x="61" y="122"/>
                        <a:pt x="77" y="121"/>
                      </a:cubicBezTo>
                      <a:cubicBezTo>
                        <a:pt x="77" y="121"/>
                        <a:pt x="86" y="124"/>
                        <a:pt x="82" y="106"/>
                      </a:cubicBezTo>
                      <a:cubicBezTo>
                        <a:pt x="82" y="106"/>
                        <a:pt x="82" y="96"/>
                        <a:pt x="84" y="92"/>
                      </a:cubicBezTo>
                      <a:cubicBezTo>
                        <a:pt x="93" y="80"/>
                        <a:pt x="75" y="86"/>
                        <a:pt x="79" y="66"/>
                      </a:cubicBezTo>
                      <a:cubicBezTo>
                        <a:pt x="79" y="66"/>
                        <a:pt x="67" y="59"/>
                        <a:pt x="67" y="55"/>
                      </a:cubicBezTo>
                      <a:cubicBezTo>
                        <a:pt x="67" y="45"/>
                        <a:pt x="85" y="46"/>
                        <a:pt x="78" y="43"/>
                      </a:cubicBezTo>
                      <a:cubicBezTo>
                        <a:pt x="78" y="43"/>
                        <a:pt x="72" y="34"/>
                        <a:pt x="65" y="34"/>
                      </a:cubicBezTo>
                      <a:cubicBezTo>
                        <a:pt x="65" y="34"/>
                        <a:pt x="71" y="29"/>
                        <a:pt x="69" y="25"/>
                      </a:cubicBezTo>
                      <a:cubicBezTo>
                        <a:pt x="69" y="25"/>
                        <a:pt x="68" y="16"/>
                        <a:pt x="86" y="18"/>
                      </a:cubicBezTo>
                      <a:cubicBezTo>
                        <a:pt x="86" y="18"/>
                        <a:pt x="89" y="7"/>
                        <a:pt x="102" y="11"/>
                      </a:cubicBezTo>
                      <a:cubicBezTo>
                        <a:pt x="104" y="10"/>
                        <a:pt x="105" y="9"/>
                        <a:pt x="107" y="10"/>
                      </a:cubicBezTo>
                      <a:cubicBezTo>
                        <a:pt x="109" y="11"/>
                        <a:pt x="110" y="12"/>
                        <a:pt x="112" y="11"/>
                      </a:cubicBezTo>
                      <a:cubicBezTo>
                        <a:pt x="112" y="11"/>
                        <a:pt x="119" y="7"/>
                        <a:pt x="137" y="11"/>
                      </a:cubicBezTo>
                      <a:cubicBezTo>
                        <a:pt x="137" y="11"/>
                        <a:pt x="146" y="18"/>
                        <a:pt x="157" y="11"/>
                      </a:cubicBezTo>
                      <a:cubicBezTo>
                        <a:pt x="157" y="11"/>
                        <a:pt x="167" y="0"/>
                        <a:pt x="177" y="9"/>
                      </a:cubicBezTo>
                      <a:cubicBezTo>
                        <a:pt x="177" y="9"/>
                        <a:pt x="183" y="15"/>
                        <a:pt x="194" y="15"/>
                      </a:cubicBezTo>
                      <a:cubicBezTo>
                        <a:pt x="194" y="15"/>
                        <a:pt x="205" y="5"/>
                        <a:pt x="206" y="18"/>
                      </a:cubicBezTo>
                      <a:cubicBezTo>
                        <a:pt x="206" y="18"/>
                        <a:pt x="209" y="24"/>
                        <a:pt x="214" y="15"/>
                      </a:cubicBezTo>
                      <a:cubicBezTo>
                        <a:pt x="214" y="15"/>
                        <a:pt x="210" y="22"/>
                        <a:pt x="219" y="34"/>
                      </a:cubicBezTo>
                      <a:cubicBezTo>
                        <a:pt x="219" y="34"/>
                        <a:pt x="236" y="38"/>
                        <a:pt x="222" y="48"/>
                      </a:cubicBezTo>
                      <a:cubicBezTo>
                        <a:pt x="222" y="48"/>
                        <a:pt x="222" y="57"/>
                        <a:pt x="233" y="52"/>
                      </a:cubicBezTo>
                      <a:cubicBezTo>
                        <a:pt x="233" y="52"/>
                        <a:pt x="235" y="45"/>
                        <a:pt x="245" y="55"/>
                      </a:cubicBezTo>
                      <a:cubicBezTo>
                        <a:pt x="245" y="55"/>
                        <a:pt x="245" y="62"/>
                        <a:pt x="257" y="52"/>
                      </a:cubicBezTo>
                      <a:cubicBezTo>
                        <a:pt x="257" y="52"/>
                        <a:pt x="265" y="58"/>
                        <a:pt x="269" y="53"/>
                      </a:cubicBezTo>
                      <a:cubicBezTo>
                        <a:pt x="269" y="53"/>
                        <a:pt x="273" y="47"/>
                        <a:pt x="283" y="51"/>
                      </a:cubicBezTo>
                      <a:cubicBezTo>
                        <a:pt x="284" y="61"/>
                        <a:pt x="290" y="59"/>
                        <a:pt x="290" y="59"/>
                      </a:cubicBezTo>
                      <a:cubicBezTo>
                        <a:pt x="297" y="59"/>
                        <a:pt x="298" y="70"/>
                        <a:pt x="298" y="70"/>
                      </a:cubicBezTo>
                      <a:cubicBezTo>
                        <a:pt x="302" y="78"/>
                        <a:pt x="308" y="89"/>
                        <a:pt x="308" y="89"/>
                      </a:cubicBezTo>
                      <a:cubicBezTo>
                        <a:pt x="318" y="86"/>
                        <a:pt x="323" y="95"/>
                        <a:pt x="323" y="95"/>
                      </a:cubicBezTo>
                      <a:cubicBezTo>
                        <a:pt x="327" y="102"/>
                        <a:pt x="331" y="89"/>
                        <a:pt x="338" y="100"/>
                      </a:cubicBezTo>
                      <a:cubicBezTo>
                        <a:pt x="346" y="101"/>
                        <a:pt x="354" y="111"/>
                        <a:pt x="354" y="111"/>
                      </a:cubicBezTo>
                      <a:cubicBezTo>
                        <a:pt x="372" y="110"/>
                        <a:pt x="366" y="121"/>
                        <a:pt x="366" y="121"/>
                      </a:cubicBezTo>
                      <a:cubicBezTo>
                        <a:pt x="348" y="125"/>
                        <a:pt x="360" y="128"/>
                        <a:pt x="360" y="128"/>
                      </a:cubicBezTo>
                      <a:cubicBezTo>
                        <a:pt x="360" y="128"/>
                        <a:pt x="368" y="132"/>
                        <a:pt x="354" y="135"/>
                      </a:cubicBezTo>
                      <a:cubicBezTo>
                        <a:pt x="347" y="134"/>
                        <a:pt x="356" y="146"/>
                        <a:pt x="344" y="142"/>
                      </a:cubicBezTo>
                      <a:cubicBezTo>
                        <a:pt x="323" y="144"/>
                        <a:pt x="334" y="154"/>
                        <a:pt x="334" y="154"/>
                      </a:cubicBezTo>
                      <a:cubicBezTo>
                        <a:pt x="339" y="161"/>
                        <a:pt x="328" y="166"/>
                        <a:pt x="328" y="166"/>
                      </a:cubicBezTo>
                      <a:cubicBezTo>
                        <a:pt x="347" y="170"/>
                        <a:pt x="347" y="186"/>
                        <a:pt x="347" y="186"/>
                      </a:cubicBezTo>
                      <a:cubicBezTo>
                        <a:pt x="368" y="186"/>
                        <a:pt x="363" y="196"/>
                        <a:pt x="363" y="196"/>
                      </a:cubicBezTo>
                      <a:cubicBezTo>
                        <a:pt x="365" y="203"/>
                        <a:pt x="358" y="204"/>
                        <a:pt x="358" y="204"/>
                      </a:cubicBezTo>
                      <a:cubicBezTo>
                        <a:pt x="341" y="207"/>
                        <a:pt x="356" y="220"/>
                        <a:pt x="356" y="220"/>
                      </a:cubicBezTo>
                      <a:cubicBezTo>
                        <a:pt x="340" y="230"/>
                        <a:pt x="328" y="245"/>
                        <a:pt x="328" y="245"/>
                      </a:cubicBezTo>
                      <a:cubicBezTo>
                        <a:pt x="295" y="231"/>
                        <a:pt x="267" y="272"/>
                        <a:pt x="267" y="272"/>
                      </a:cubicBezTo>
                      <a:cubicBezTo>
                        <a:pt x="250" y="258"/>
                        <a:pt x="234" y="267"/>
                        <a:pt x="234" y="267"/>
                      </a:cubicBezTo>
                      <a:cubicBezTo>
                        <a:pt x="204" y="272"/>
                        <a:pt x="194" y="293"/>
                        <a:pt x="194" y="293"/>
                      </a:cubicBezTo>
                      <a:cubicBezTo>
                        <a:pt x="192" y="303"/>
                        <a:pt x="178" y="309"/>
                        <a:pt x="178" y="309"/>
                      </a:cubicBezTo>
                      <a:cubicBezTo>
                        <a:pt x="178" y="309"/>
                        <a:pt x="178" y="309"/>
                        <a:pt x="178" y="309"/>
                      </a:cubicBezTo>
                      <a:cubicBezTo>
                        <a:pt x="152" y="333"/>
                        <a:pt x="152" y="333"/>
                        <a:pt x="152" y="333"/>
                      </a:cubicBezTo>
                      <a:cubicBezTo>
                        <a:pt x="152" y="333"/>
                        <a:pt x="152" y="333"/>
                        <a:pt x="152" y="333"/>
                      </a:cubicBezTo>
                      <a:cubicBezTo>
                        <a:pt x="139" y="337"/>
                        <a:pt x="145" y="322"/>
                        <a:pt x="145" y="322"/>
                      </a:cubicBezTo>
                      <a:cubicBezTo>
                        <a:pt x="141" y="310"/>
                        <a:pt x="136" y="322"/>
                        <a:pt x="136" y="322"/>
                      </a:cubicBezTo>
                      <a:cubicBezTo>
                        <a:pt x="134" y="332"/>
                        <a:pt x="130" y="338"/>
                        <a:pt x="125" y="343"/>
                      </a:cubicBezTo>
                      <a:cubicBezTo>
                        <a:pt x="110" y="344"/>
                        <a:pt x="113" y="334"/>
                        <a:pt x="113" y="334"/>
                      </a:cubicBezTo>
                      <a:cubicBezTo>
                        <a:pt x="115" y="308"/>
                        <a:pt x="101" y="311"/>
                        <a:pt x="101" y="311"/>
                      </a:cubicBezTo>
                      <a:cubicBezTo>
                        <a:pt x="87" y="309"/>
                        <a:pt x="87" y="300"/>
                        <a:pt x="87" y="300"/>
                      </a:cubicBezTo>
                      <a:cubicBezTo>
                        <a:pt x="68" y="297"/>
                        <a:pt x="72" y="287"/>
                        <a:pt x="72" y="287"/>
                      </a:cubicBezTo>
                      <a:cubicBezTo>
                        <a:pt x="75" y="280"/>
                        <a:pt x="65" y="276"/>
                        <a:pt x="65" y="276"/>
                      </a:cubicBezTo>
                      <a:cubicBezTo>
                        <a:pt x="49" y="275"/>
                        <a:pt x="65" y="264"/>
                        <a:pt x="65" y="264"/>
                      </a:cubicBezTo>
                      <a:cubicBezTo>
                        <a:pt x="74" y="261"/>
                        <a:pt x="70" y="252"/>
                        <a:pt x="70" y="252"/>
                      </a:cubicBezTo>
                      <a:cubicBezTo>
                        <a:pt x="86" y="243"/>
                        <a:pt x="70" y="237"/>
                        <a:pt x="70" y="237"/>
                      </a:cubicBezTo>
                      <a:cubicBezTo>
                        <a:pt x="70" y="227"/>
                        <a:pt x="58" y="229"/>
                        <a:pt x="58" y="229"/>
                      </a:cubicBezTo>
                      <a:cubicBezTo>
                        <a:pt x="52" y="229"/>
                        <a:pt x="50" y="220"/>
                        <a:pt x="50" y="220"/>
                      </a:cubicBezTo>
                      <a:cubicBezTo>
                        <a:pt x="39" y="216"/>
                        <a:pt x="42" y="202"/>
                        <a:pt x="42" y="202"/>
                      </a:cubicBezTo>
                      <a:cubicBezTo>
                        <a:pt x="31" y="195"/>
                        <a:pt x="37" y="176"/>
                        <a:pt x="37" y="176"/>
                      </a:cubicBezTo>
                      <a:cubicBezTo>
                        <a:pt x="29" y="151"/>
                        <a:pt x="23" y="169"/>
                        <a:pt x="23" y="169"/>
                      </a:cubicBezTo>
                      <a:cubicBezTo>
                        <a:pt x="9" y="176"/>
                        <a:pt x="9" y="158"/>
                        <a:pt x="9" y="158"/>
                      </a:cubicBezTo>
                      <a:cubicBezTo>
                        <a:pt x="0" y="148"/>
                        <a:pt x="0" y="133"/>
                        <a:pt x="0" y="133"/>
                      </a:cubicBezTo>
                      <a:cubicBezTo>
                        <a:pt x="0" y="133"/>
                        <a:pt x="0" y="133"/>
                        <a:pt x="0" y="133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29" name="Freeform 36"/>
                <p:cNvSpPr>
                  <a:spLocks/>
                </p:cNvSpPr>
                <p:nvPr/>
              </p:nvSpPr>
              <p:spPr bwMode="auto">
                <a:xfrm>
                  <a:off x="3620338" y="4334966"/>
                  <a:ext cx="1193673" cy="729783"/>
                </a:xfrm>
                <a:custGeom>
                  <a:avLst/>
                  <a:gdLst/>
                  <a:ahLst/>
                  <a:cxnLst>
                    <a:cxn ang="0">
                      <a:pos x="45" y="162"/>
                    </a:cxn>
                    <a:cxn ang="0">
                      <a:pos x="89" y="147"/>
                    </a:cxn>
                    <a:cxn ang="0">
                      <a:pos x="130" y="142"/>
                    </a:cxn>
                    <a:cxn ang="0">
                      <a:pos x="145" y="125"/>
                    </a:cxn>
                    <a:cxn ang="0">
                      <a:pos x="155" y="110"/>
                    </a:cxn>
                    <a:cxn ang="0">
                      <a:pos x="147" y="81"/>
                    </a:cxn>
                    <a:cxn ang="0">
                      <a:pos x="160" y="46"/>
                    </a:cxn>
                    <a:cxn ang="0">
                      <a:pos x="152" y="34"/>
                    </a:cxn>
                    <a:cxn ang="0">
                      <a:pos x="156" y="8"/>
                    </a:cxn>
                    <a:cxn ang="0">
                      <a:pos x="182" y="15"/>
                    </a:cxn>
                    <a:cxn ang="0">
                      <a:pos x="202" y="14"/>
                    </a:cxn>
                    <a:cxn ang="0">
                      <a:pos x="246" y="19"/>
                    </a:cxn>
                    <a:cxn ang="0">
                      <a:pos x="272" y="20"/>
                    </a:cxn>
                    <a:cxn ang="0">
                      <a:pos x="305" y="45"/>
                    </a:cxn>
                    <a:cxn ang="0">
                      <a:pos x="333" y="63"/>
                    </a:cxn>
                    <a:cxn ang="0">
                      <a:pos x="346" y="107"/>
                    </a:cxn>
                    <a:cxn ang="0">
                      <a:pos x="366" y="124"/>
                    </a:cxn>
                    <a:cxn ang="0">
                      <a:pos x="361" y="151"/>
                    </a:cxn>
                    <a:cxn ang="0">
                      <a:pos x="368" y="174"/>
                    </a:cxn>
                    <a:cxn ang="0">
                      <a:pos x="397" y="198"/>
                    </a:cxn>
                    <a:cxn ang="0">
                      <a:pos x="421" y="230"/>
                    </a:cxn>
                    <a:cxn ang="0">
                      <a:pos x="386" y="261"/>
                    </a:cxn>
                    <a:cxn ang="0">
                      <a:pos x="360" y="258"/>
                    </a:cxn>
                    <a:cxn ang="0">
                      <a:pos x="316" y="249"/>
                    </a:cxn>
                    <a:cxn ang="0">
                      <a:pos x="291" y="252"/>
                    </a:cxn>
                    <a:cxn ang="0">
                      <a:pos x="277" y="248"/>
                    </a:cxn>
                    <a:cxn ang="0">
                      <a:pos x="250" y="252"/>
                    </a:cxn>
                    <a:cxn ang="0">
                      <a:pos x="234" y="253"/>
                    </a:cxn>
                    <a:cxn ang="0">
                      <a:pos x="227" y="275"/>
                    </a:cxn>
                    <a:cxn ang="0">
                      <a:pos x="184" y="253"/>
                    </a:cxn>
                    <a:cxn ang="0">
                      <a:pos x="126" y="272"/>
                    </a:cxn>
                    <a:cxn ang="0">
                      <a:pos x="63" y="261"/>
                    </a:cxn>
                    <a:cxn ang="0">
                      <a:pos x="16" y="244"/>
                    </a:cxn>
                    <a:cxn ang="0">
                      <a:pos x="0" y="237"/>
                    </a:cxn>
                    <a:cxn ang="0">
                      <a:pos x="20" y="233"/>
                    </a:cxn>
                    <a:cxn ang="0">
                      <a:pos x="16" y="211"/>
                    </a:cxn>
                    <a:cxn ang="0">
                      <a:pos x="9" y="198"/>
                    </a:cxn>
                    <a:cxn ang="0">
                      <a:pos x="46" y="203"/>
                    </a:cxn>
                    <a:cxn ang="0">
                      <a:pos x="71" y="199"/>
                    </a:cxn>
                    <a:cxn ang="0">
                      <a:pos x="82" y="196"/>
                    </a:cxn>
                    <a:cxn ang="0">
                      <a:pos x="62" y="187"/>
                    </a:cxn>
                    <a:cxn ang="0">
                      <a:pos x="41" y="187"/>
                    </a:cxn>
                    <a:cxn ang="0">
                      <a:pos x="23" y="165"/>
                    </a:cxn>
                  </a:cxnLst>
                  <a:rect l="0" t="0" r="r" b="b"/>
                  <a:pathLst>
                    <a:path w="421" h="292">
                      <a:moveTo>
                        <a:pt x="23" y="165"/>
                      </a:moveTo>
                      <a:cubicBezTo>
                        <a:pt x="26" y="160"/>
                        <a:pt x="45" y="162"/>
                        <a:pt x="45" y="162"/>
                      </a:cubicBezTo>
                      <a:cubicBezTo>
                        <a:pt x="56" y="143"/>
                        <a:pt x="68" y="151"/>
                        <a:pt x="68" y="151"/>
                      </a:cubicBezTo>
                      <a:cubicBezTo>
                        <a:pt x="72" y="138"/>
                        <a:pt x="79" y="151"/>
                        <a:pt x="89" y="147"/>
                      </a:cubicBezTo>
                      <a:cubicBezTo>
                        <a:pt x="94" y="134"/>
                        <a:pt x="111" y="143"/>
                        <a:pt x="111" y="143"/>
                      </a:cubicBezTo>
                      <a:cubicBezTo>
                        <a:pt x="116" y="148"/>
                        <a:pt x="130" y="142"/>
                        <a:pt x="130" y="142"/>
                      </a:cubicBezTo>
                      <a:cubicBezTo>
                        <a:pt x="147" y="137"/>
                        <a:pt x="126" y="135"/>
                        <a:pt x="126" y="135"/>
                      </a:cubicBezTo>
                      <a:cubicBezTo>
                        <a:pt x="139" y="132"/>
                        <a:pt x="145" y="125"/>
                        <a:pt x="145" y="125"/>
                      </a:cubicBezTo>
                      <a:cubicBezTo>
                        <a:pt x="150" y="121"/>
                        <a:pt x="140" y="118"/>
                        <a:pt x="140" y="118"/>
                      </a:cubicBezTo>
                      <a:cubicBezTo>
                        <a:pt x="137" y="110"/>
                        <a:pt x="156" y="122"/>
                        <a:pt x="155" y="110"/>
                      </a:cubicBezTo>
                      <a:cubicBezTo>
                        <a:pt x="155" y="103"/>
                        <a:pt x="137" y="103"/>
                        <a:pt x="139" y="100"/>
                      </a:cubicBezTo>
                      <a:cubicBezTo>
                        <a:pt x="133" y="87"/>
                        <a:pt x="147" y="81"/>
                        <a:pt x="147" y="81"/>
                      </a:cubicBezTo>
                      <a:cubicBezTo>
                        <a:pt x="166" y="79"/>
                        <a:pt x="161" y="66"/>
                        <a:pt x="161" y="66"/>
                      </a:cubicBezTo>
                      <a:cubicBezTo>
                        <a:pt x="162" y="56"/>
                        <a:pt x="160" y="46"/>
                        <a:pt x="160" y="46"/>
                      </a:cubicBezTo>
                      <a:cubicBezTo>
                        <a:pt x="159" y="42"/>
                        <a:pt x="147" y="41"/>
                        <a:pt x="147" y="41"/>
                      </a:cubicBezTo>
                      <a:cubicBezTo>
                        <a:pt x="147" y="35"/>
                        <a:pt x="152" y="34"/>
                        <a:pt x="152" y="34"/>
                      </a:cubicBezTo>
                      <a:cubicBezTo>
                        <a:pt x="166" y="39"/>
                        <a:pt x="160" y="25"/>
                        <a:pt x="160" y="25"/>
                      </a:cubicBezTo>
                      <a:cubicBezTo>
                        <a:pt x="164" y="18"/>
                        <a:pt x="155" y="17"/>
                        <a:pt x="156" y="8"/>
                      </a:cubicBezTo>
                      <a:cubicBezTo>
                        <a:pt x="156" y="8"/>
                        <a:pt x="165" y="5"/>
                        <a:pt x="170" y="12"/>
                      </a:cubicBezTo>
                      <a:cubicBezTo>
                        <a:pt x="170" y="12"/>
                        <a:pt x="180" y="11"/>
                        <a:pt x="182" y="15"/>
                      </a:cubicBezTo>
                      <a:cubicBezTo>
                        <a:pt x="182" y="15"/>
                        <a:pt x="188" y="26"/>
                        <a:pt x="191" y="19"/>
                      </a:cubicBezTo>
                      <a:cubicBezTo>
                        <a:pt x="191" y="12"/>
                        <a:pt x="200" y="18"/>
                        <a:pt x="202" y="14"/>
                      </a:cubicBezTo>
                      <a:cubicBezTo>
                        <a:pt x="202" y="14"/>
                        <a:pt x="211" y="0"/>
                        <a:pt x="221" y="15"/>
                      </a:cubicBezTo>
                      <a:cubicBezTo>
                        <a:pt x="221" y="15"/>
                        <a:pt x="218" y="25"/>
                        <a:pt x="246" y="19"/>
                      </a:cubicBezTo>
                      <a:cubicBezTo>
                        <a:pt x="246" y="19"/>
                        <a:pt x="251" y="12"/>
                        <a:pt x="262" y="18"/>
                      </a:cubicBezTo>
                      <a:cubicBezTo>
                        <a:pt x="262" y="18"/>
                        <a:pt x="263" y="23"/>
                        <a:pt x="272" y="20"/>
                      </a:cubicBezTo>
                      <a:cubicBezTo>
                        <a:pt x="272" y="20"/>
                        <a:pt x="287" y="21"/>
                        <a:pt x="297" y="20"/>
                      </a:cubicBezTo>
                      <a:cubicBezTo>
                        <a:pt x="297" y="20"/>
                        <a:pt x="296" y="35"/>
                        <a:pt x="305" y="45"/>
                      </a:cubicBezTo>
                      <a:cubicBezTo>
                        <a:pt x="305" y="45"/>
                        <a:pt x="305" y="63"/>
                        <a:pt x="319" y="56"/>
                      </a:cubicBezTo>
                      <a:cubicBezTo>
                        <a:pt x="319" y="56"/>
                        <a:pt x="325" y="38"/>
                        <a:pt x="333" y="63"/>
                      </a:cubicBezTo>
                      <a:cubicBezTo>
                        <a:pt x="333" y="63"/>
                        <a:pt x="327" y="82"/>
                        <a:pt x="338" y="89"/>
                      </a:cubicBezTo>
                      <a:cubicBezTo>
                        <a:pt x="338" y="89"/>
                        <a:pt x="335" y="103"/>
                        <a:pt x="346" y="107"/>
                      </a:cubicBezTo>
                      <a:cubicBezTo>
                        <a:pt x="346" y="107"/>
                        <a:pt x="348" y="116"/>
                        <a:pt x="354" y="116"/>
                      </a:cubicBezTo>
                      <a:cubicBezTo>
                        <a:pt x="354" y="116"/>
                        <a:pt x="366" y="114"/>
                        <a:pt x="366" y="124"/>
                      </a:cubicBezTo>
                      <a:cubicBezTo>
                        <a:pt x="366" y="124"/>
                        <a:pt x="382" y="130"/>
                        <a:pt x="366" y="139"/>
                      </a:cubicBezTo>
                      <a:cubicBezTo>
                        <a:pt x="366" y="139"/>
                        <a:pt x="370" y="148"/>
                        <a:pt x="361" y="151"/>
                      </a:cubicBezTo>
                      <a:cubicBezTo>
                        <a:pt x="361" y="151"/>
                        <a:pt x="345" y="162"/>
                        <a:pt x="361" y="163"/>
                      </a:cubicBezTo>
                      <a:cubicBezTo>
                        <a:pt x="361" y="163"/>
                        <a:pt x="371" y="167"/>
                        <a:pt x="368" y="174"/>
                      </a:cubicBezTo>
                      <a:cubicBezTo>
                        <a:pt x="368" y="174"/>
                        <a:pt x="364" y="184"/>
                        <a:pt x="383" y="187"/>
                      </a:cubicBezTo>
                      <a:cubicBezTo>
                        <a:pt x="383" y="187"/>
                        <a:pt x="383" y="196"/>
                        <a:pt x="397" y="198"/>
                      </a:cubicBezTo>
                      <a:cubicBezTo>
                        <a:pt x="397" y="198"/>
                        <a:pt x="411" y="195"/>
                        <a:pt x="409" y="221"/>
                      </a:cubicBezTo>
                      <a:cubicBezTo>
                        <a:pt x="409" y="221"/>
                        <a:pt x="406" y="231"/>
                        <a:pt x="421" y="230"/>
                      </a:cubicBezTo>
                      <a:cubicBezTo>
                        <a:pt x="410" y="240"/>
                        <a:pt x="396" y="241"/>
                        <a:pt x="396" y="241"/>
                      </a:cubicBezTo>
                      <a:cubicBezTo>
                        <a:pt x="384" y="250"/>
                        <a:pt x="386" y="261"/>
                        <a:pt x="386" y="261"/>
                      </a:cubicBezTo>
                      <a:cubicBezTo>
                        <a:pt x="377" y="252"/>
                        <a:pt x="370" y="253"/>
                        <a:pt x="370" y="253"/>
                      </a:cubicBezTo>
                      <a:cubicBezTo>
                        <a:pt x="364" y="253"/>
                        <a:pt x="360" y="258"/>
                        <a:pt x="360" y="258"/>
                      </a:cubicBezTo>
                      <a:cubicBezTo>
                        <a:pt x="353" y="263"/>
                        <a:pt x="340" y="258"/>
                        <a:pt x="340" y="258"/>
                      </a:cubicBezTo>
                      <a:cubicBezTo>
                        <a:pt x="332" y="258"/>
                        <a:pt x="329" y="247"/>
                        <a:pt x="316" y="249"/>
                      </a:cubicBezTo>
                      <a:cubicBezTo>
                        <a:pt x="309" y="249"/>
                        <a:pt x="308" y="236"/>
                        <a:pt x="301" y="237"/>
                      </a:cubicBezTo>
                      <a:cubicBezTo>
                        <a:pt x="303" y="250"/>
                        <a:pt x="291" y="252"/>
                        <a:pt x="291" y="252"/>
                      </a:cubicBezTo>
                      <a:cubicBezTo>
                        <a:pt x="291" y="252"/>
                        <a:pt x="291" y="252"/>
                        <a:pt x="291" y="252"/>
                      </a:cubicBezTo>
                      <a:cubicBezTo>
                        <a:pt x="277" y="248"/>
                        <a:pt x="277" y="248"/>
                        <a:pt x="277" y="248"/>
                      </a:cubicBezTo>
                      <a:cubicBezTo>
                        <a:pt x="250" y="252"/>
                        <a:pt x="250" y="252"/>
                        <a:pt x="250" y="252"/>
                      </a:cubicBezTo>
                      <a:cubicBezTo>
                        <a:pt x="250" y="252"/>
                        <a:pt x="250" y="252"/>
                        <a:pt x="250" y="252"/>
                      </a:cubicBezTo>
                      <a:cubicBezTo>
                        <a:pt x="249" y="253"/>
                        <a:pt x="248" y="255"/>
                        <a:pt x="248" y="257"/>
                      </a:cubicBezTo>
                      <a:cubicBezTo>
                        <a:pt x="248" y="257"/>
                        <a:pt x="242" y="251"/>
                        <a:pt x="234" y="253"/>
                      </a:cubicBezTo>
                      <a:cubicBezTo>
                        <a:pt x="234" y="253"/>
                        <a:pt x="235" y="261"/>
                        <a:pt x="232" y="265"/>
                      </a:cubicBezTo>
                      <a:cubicBezTo>
                        <a:pt x="228" y="264"/>
                        <a:pt x="227" y="275"/>
                        <a:pt x="227" y="275"/>
                      </a:cubicBezTo>
                      <a:cubicBezTo>
                        <a:pt x="212" y="292"/>
                        <a:pt x="202" y="270"/>
                        <a:pt x="202" y="270"/>
                      </a:cubicBezTo>
                      <a:cubicBezTo>
                        <a:pt x="188" y="272"/>
                        <a:pt x="184" y="253"/>
                        <a:pt x="184" y="253"/>
                      </a:cubicBezTo>
                      <a:cubicBezTo>
                        <a:pt x="180" y="275"/>
                        <a:pt x="163" y="264"/>
                        <a:pt x="163" y="264"/>
                      </a:cubicBezTo>
                      <a:cubicBezTo>
                        <a:pt x="159" y="275"/>
                        <a:pt x="126" y="272"/>
                        <a:pt x="126" y="272"/>
                      </a:cubicBezTo>
                      <a:cubicBezTo>
                        <a:pt x="88" y="285"/>
                        <a:pt x="78" y="276"/>
                        <a:pt x="78" y="276"/>
                      </a:cubicBezTo>
                      <a:cubicBezTo>
                        <a:pt x="66" y="272"/>
                        <a:pt x="63" y="261"/>
                        <a:pt x="63" y="261"/>
                      </a:cubicBezTo>
                      <a:cubicBezTo>
                        <a:pt x="47" y="260"/>
                        <a:pt x="42" y="253"/>
                        <a:pt x="42" y="253"/>
                      </a:cubicBezTo>
                      <a:cubicBezTo>
                        <a:pt x="37" y="246"/>
                        <a:pt x="16" y="244"/>
                        <a:pt x="16" y="244"/>
                      </a:cubicBezTo>
                      <a:cubicBezTo>
                        <a:pt x="2" y="247"/>
                        <a:pt x="0" y="237"/>
                        <a:pt x="0" y="237"/>
                      </a:cubicBezTo>
                      <a:cubicBezTo>
                        <a:pt x="0" y="237"/>
                        <a:pt x="0" y="237"/>
                        <a:pt x="0" y="237"/>
                      </a:cubicBezTo>
                      <a:cubicBezTo>
                        <a:pt x="20" y="233"/>
                        <a:pt x="20" y="233"/>
                        <a:pt x="20" y="233"/>
                      </a:cubicBezTo>
                      <a:cubicBezTo>
                        <a:pt x="20" y="233"/>
                        <a:pt x="20" y="233"/>
                        <a:pt x="20" y="233"/>
                      </a:cubicBezTo>
                      <a:cubicBezTo>
                        <a:pt x="29" y="237"/>
                        <a:pt x="35" y="224"/>
                        <a:pt x="35" y="224"/>
                      </a:cubicBezTo>
                      <a:cubicBezTo>
                        <a:pt x="30" y="212"/>
                        <a:pt x="16" y="211"/>
                        <a:pt x="16" y="211"/>
                      </a:cubicBezTo>
                      <a:cubicBezTo>
                        <a:pt x="12" y="210"/>
                        <a:pt x="8" y="210"/>
                        <a:pt x="5" y="210"/>
                      </a:cubicBezTo>
                      <a:cubicBezTo>
                        <a:pt x="1" y="206"/>
                        <a:pt x="10" y="203"/>
                        <a:pt x="9" y="198"/>
                      </a:cubicBezTo>
                      <a:cubicBezTo>
                        <a:pt x="19" y="198"/>
                        <a:pt x="24" y="195"/>
                        <a:pt x="24" y="195"/>
                      </a:cubicBezTo>
                      <a:cubicBezTo>
                        <a:pt x="38" y="196"/>
                        <a:pt x="46" y="203"/>
                        <a:pt x="46" y="203"/>
                      </a:cubicBezTo>
                      <a:cubicBezTo>
                        <a:pt x="57" y="211"/>
                        <a:pt x="71" y="199"/>
                        <a:pt x="71" y="199"/>
                      </a:cubicBezTo>
                      <a:cubicBezTo>
                        <a:pt x="71" y="199"/>
                        <a:pt x="71" y="199"/>
                        <a:pt x="71" y="199"/>
                      </a:cubicBezTo>
                      <a:cubicBezTo>
                        <a:pt x="82" y="196"/>
                        <a:pt x="82" y="196"/>
                        <a:pt x="82" y="196"/>
                      </a:cubicBezTo>
                      <a:cubicBezTo>
                        <a:pt x="82" y="196"/>
                        <a:pt x="82" y="196"/>
                        <a:pt x="82" y="196"/>
                      </a:cubicBezTo>
                      <a:cubicBezTo>
                        <a:pt x="79" y="191"/>
                        <a:pt x="62" y="187"/>
                        <a:pt x="62" y="187"/>
                      </a:cubicBezTo>
                      <a:cubicBezTo>
                        <a:pt x="62" y="187"/>
                        <a:pt x="62" y="187"/>
                        <a:pt x="62" y="187"/>
                      </a:cubicBezTo>
                      <a:cubicBezTo>
                        <a:pt x="41" y="187"/>
                        <a:pt x="41" y="187"/>
                        <a:pt x="41" y="187"/>
                      </a:cubicBezTo>
                      <a:cubicBezTo>
                        <a:pt x="41" y="187"/>
                        <a:pt x="41" y="187"/>
                        <a:pt x="41" y="187"/>
                      </a:cubicBezTo>
                      <a:cubicBezTo>
                        <a:pt x="27" y="182"/>
                        <a:pt x="23" y="165"/>
                        <a:pt x="23" y="165"/>
                      </a:cubicBezTo>
                      <a:cubicBezTo>
                        <a:pt x="23" y="165"/>
                        <a:pt x="23" y="165"/>
                        <a:pt x="23" y="165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/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0" name="Freeform 35"/>
                <p:cNvSpPr>
                  <a:spLocks/>
                </p:cNvSpPr>
                <p:nvPr/>
              </p:nvSpPr>
              <p:spPr bwMode="auto">
                <a:xfrm>
                  <a:off x="338760" y="3515302"/>
                  <a:ext cx="835707" cy="596973"/>
                </a:xfrm>
                <a:custGeom>
                  <a:avLst/>
                  <a:gdLst/>
                  <a:ahLst/>
                  <a:cxnLst>
                    <a:cxn ang="0">
                      <a:pos x="171" y="84"/>
                    </a:cxn>
                    <a:cxn ang="0">
                      <a:pos x="155" y="83"/>
                    </a:cxn>
                    <a:cxn ang="0">
                      <a:pos x="155" y="83"/>
                    </a:cxn>
                    <a:cxn ang="0">
                      <a:pos x="141" y="74"/>
                    </a:cxn>
                    <a:cxn ang="0">
                      <a:pos x="127" y="63"/>
                    </a:cxn>
                    <a:cxn ang="0">
                      <a:pos x="115" y="54"/>
                    </a:cxn>
                    <a:cxn ang="0">
                      <a:pos x="103" y="45"/>
                    </a:cxn>
                    <a:cxn ang="0">
                      <a:pos x="100" y="17"/>
                    </a:cxn>
                    <a:cxn ang="0">
                      <a:pos x="100" y="17"/>
                    </a:cxn>
                    <a:cxn ang="0">
                      <a:pos x="79" y="12"/>
                    </a:cxn>
                    <a:cxn ang="0">
                      <a:pos x="79" y="12"/>
                    </a:cxn>
                    <a:cxn ang="0">
                      <a:pos x="63" y="4"/>
                    </a:cxn>
                    <a:cxn ang="0">
                      <a:pos x="61" y="11"/>
                    </a:cxn>
                    <a:cxn ang="0">
                      <a:pos x="44" y="32"/>
                    </a:cxn>
                    <a:cxn ang="0">
                      <a:pos x="35" y="55"/>
                    </a:cxn>
                    <a:cxn ang="0">
                      <a:pos x="6" y="86"/>
                    </a:cxn>
                    <a:cxn ang="0">
                      <a:pos x="1" y="118"/>
                    </a:cxn>
                    <a:cxn ang="0">
                      <a:pos x="14" y="130"/>
                    </a:cxn>
                    <a:cxn ang="0">
                      <a:pos x="21" y="142"/>
                    </a:cxn>
                    <a:cxn ang="0">
                      <a:pos x="30" y="152"/>
                    </a:cxn>
                    <a:cxn ang="0">
                      <a:pos x="46" y="167"/>
                    </a:cxn>
                    <a:cxn ang="0">
                      <a:pos x="61" y="182"/>
                    </a:cxn>
                    <a:cxn ang="0">
                      <a:pos x="75" y="197"/>
                    </a:cxn>
                    <a:cxn ang="0">
                      <a:pos x="76" y="212"/>
                    </a:cxn>
                    <a:cxn ang="0">
                      <a:pos x="104" y="202"/>
                    </a:cxn>
                    <a:cxn ang="0">
                      <a:pos x="129" y="196"/>
                    </a:cxn>
                    <a:cxn ang="0">
                      <a:pos x="155" y="211"/>
                    </a:cxn>
                    <a:cxn ang="0">
                      <a:pos x="179" y="216"/>
                    </a:cxn>
                    <a:cxn ang="0">
                      <a:pos x="210" y="226"/>
                    </a:cxn>
                    <a:cxn ang="0">
                      <a:pos x="250" y="233"/>
                    </a:cxn>
                    <a:cxn ang="0">
                      <a:pos x="283" y="233"/>
                    </a:cxn>
                    <a:cxn ang="0">
                      <a:pos x="282" y="204"/>
                    </a:cxn>
                    <a:cxn ang="0">
                      <a:pos x="277" y="186"/>
                    </a:cxn>
                    <a:cxn ang="0">
                      <a:pos x="262" y="165"/>
                    </a:cxn>
                    <a:cxn ang="0">
                      <a:pos x="249" y="161"/>
                    </a:cxn>
                    <a:cxn ang="0">
                      <a:pos x="233" y="149"/>
                    </a:cxn>
                    <a:cxn ang="0">
                      <a:pos x="231" y="128"/>
                    </a:cxn>
                    <a:cxn ang="0">
                      <a:pos x="216" y="134"/>
                    </a:cxn>
                    <a:cxn ang="0">
                      <a:pos x="211" y="125"/>
                    </a:cxn>
                    <a:cxn ang="0">
                      <a:pos x="203" y="117"/>
                    </a:cxn>
                    <a:cxn ang="0">
                      <a:pos x="183" y="101"/>
                    </a:cxn>
                    <a:cxn ang="0">
                      <a:pos x="171" y="84"/>
                    </a:cxn>
                    <a:cxn ang="0">
                      <a:pos x="171" y="84"/>
                    </a:cxn>
                  </a:cxnLst>
                  <a:rect l="0" t="0" r="r" b="b"/>
                  <a:pathLst>
                    <a:path w="295" h="238">
                      <a:moveTo>
                        <a:pt x="171" y="84"/>
                      </a:moveTo>
                      <a:cubicBezTo>
                        <a:pt x="155" y="83"/>
                        <a:pt x="155" y="83"/>
                        <a:pt x="155" y="83"/>
                      </a:cubicBezTo>
                      <a:cubicBezTo>
                        <a:pt x="155" y="83"/>
                        <a:pt x="155" y="83"/>
                        <a:pt x="155" y="83"/>
                      </a:cubicBezTo>
                      <a:cubicBezTo>
                        <a:pt x="155" y="83"/>
                        <a:pt x="152" y="74"/>
                        <a:pt x="141" y="74"/>
                      </a:cubicBezTo>
                      <a:cubicBezTo>
                        <a:pt x="141" y="74"/>
                        <a:pt x="129" y="76"/>
                        <a:pt x="127" y="63"/>
                      </a:cubicBezTo>
                      <a:cubicBezTo>
                        <a:pt x="127" y="63"/>
                        <a:pt x="127" y="47"/>
                        <a:pt x="115" y="54"/>
                      </a:cubicBezTo>
                      <a:cubicBezTo>
                        <a:pt x="115" y="54"/>
                        <a:pt x="105" y="53"/>
                        <a:pt x="103" y="45"/>
                      </a:cubicBezTo>
                      <a:cubicBezTo>
                        <a:pt x="103" y="45"/>
                        <a:pt x="97" y="42"/>
                        <a:pt x="100" y="17"/>
                      </a:cubicBezTo>
                      <a:cubicBezTo>
                        <a:pt x="100" y="17"/>
                        <a:pt x="100" y="17"/>
                        <a:pt x="100" y="17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79" y="12"/>
                        <a:pt x="79" y="12"/>
                        <a:pt x="79" y="12"/>
                      </a:cubicBezTo>
                      <a:cubicBezTo>
                        <a:pt x="71" y="0"/>
                        <a:pt x="66" y="1"/>
                        <a:pt x="63" y="4"/>
                      </a:cubicBezTo>
                      <a:cubicBezTo>
                        <a:pt x="61" y="6"/>
                        <a:pt x="61" y="11"/>
                        <a:pt x="61" y="11"/>
                      </a:cubicBezTo>
                      <a:cubicBezTo>
                        <a:pt x="46" y="19"/>
                        <a:pt x="44" y="32"/>
                        <a:pt x="44" y="32"/>
                      </a:cubicBezTo>
                      <a:cubicBezTo>
                        <a:pt x="35" y="39"/>
                        <a:pt x="35" y="55"/>
                        <a:pt x="35" y="55"/>
                      </a:cubicBezTo>
                      <a:cubicBezTo>
                        <a:pt x="35" y="55"/>
                        <a:pt x="28" y="75"/>
                        <a:pt x="6" y="86"/>
                      </a:cubicBezTo>
                      <a:cubicBezTo>
                        <a:pt x="0" y="98"/>
                        <a:pt x="1" y="118"/>
                        <a:pt x="1" y="118"/>
                      </a:cubicBezTo>
                      <a:cubicBezTo>
                        <a:pt x="16" y="113"/>
                        <a:pt x="14" y="130"/>
                        <a:pt x="14" y="130"/>
                      </a:cubicBezTo>
                      <a:cubicBezTo>
                        <a:pt x="24" y="131"/>
                        <a:pt x="21" y="142"/>
                        <a:pt x="21" y="142"/>
                      </a:cubicBezTo>
                      <a:cubicBezTo>
                        <a:pt x="20" y="154"/>
                        <a:pt x="30" y="152"/>
                        <a:pt x="30" y="152"/>
                      </a:cubicBezTo>
                      <a:cubicBezTo>
                        <a:pt x="45" y="149"/>
                        <a:pt x="35" y="164"/>
                        <a:pt x="46" y="167"/>
                      </a:cubicBezTo>
                      <a:cubicBezTo>
                        <a:pt x="46" y="189"/>
                        <a:pt x="61" y="182"/>
                        <a:pt x="61" y="182"/>
                      </a:cubicBezTo>
                      <a:cubicBezTo>
                        <a:pt x="76" y="175"/>
                        <a:pt x="83" y="195"/>
                        <a:pt x="75" y="197"/>
                      </a:cubicBezTo>
                      <a:cubicBezTo>
                        <a:pt x="72" y="209"/>
                        <a:pt x="76" y="212"/>
                        <a:pt x="76" y="212"/>
                      </a:cubicBezTo>
                      <a:cubicBezTo>
                        <a:pt x="87" y="212"/>
                        <a:pt x="84" y="196"/>
                        <a:pt x="104" y="202"/>
                      </a:cubicBezTo>
                      <a:cubicBezTo>
                        <a:pt x="113" y="175"/>
                        <a:pt x="129" y="196"/>
                        <a:pt x="129" y="196"/>
                      </a:cubicBezTo>
                      <a:cubicBezTo>
                        <a:pt x="139" y="214"/>
                        <a:pt x="155" y="211"/>
                        <a:pt x="155" y="211"/>
                      </a:cubicBezTo>
                      <a:cubicBezTo>
                        <a:pt x="164" y="205"/>
                        <a:pt x="179" y="216"/>
                        <a:pt x="179" y="216"/>
                      </a:cubicBezTo>
                      <a:cubicBezTo>
                        <a:pt x="189" y="215"/>
                        <a:pt x="195" y="230"/>
                        <a:pt x="210" y="226"/>
                      </a:cubicBezTo>
                      <a:cubicBezTo>
                        <a:pt x="220" y="224"/>
                        <a:pt x="230" y="238"/>
                        <a:pt x="250" y="233"/>
                      </a:cubicBezTo>
                      <a:cubicBezTo>
                        <a:pt x="266" y="229"/>
                        <a:pt x="277" y="230"/>
                        <a:pt x="283" y="233"/>
                      </a:cubicBezTo>
                      <a:cubicBezTo>
                        <a:pt x="295" y="212"/>
                        <a:pt x="282" y="204"/>
                        <a:pt x="282" y="204"/>
                      </a:cubicBezTo>
                      <a:cubicBezTo>
                        <a:pt x="273" y="200"/>
                        <a:pt x="284" y="190"/>
                        <a:pt x="277" y="186"/>
                      </a:cubicBezTo>
                      <a:cubicBezTo>
                        <a:pt x="271" y="167"/>
                        <a:pt x="262" y="165"/>
                        <a:pt x="262" y="165"/>
                      </a:cubicBezTo>
                      <a:cubicBezTo>
                        <a:pt x="255" y="149"/>
                        <a:pt x="249" y="161"/>
                        <a:pt x="249" y="161"/>
                      </a:cubicBezTo>
                      <a:cubicBezTo>
                        <a:pt x="224" y="164"/>
                        <a:pt x="233" y="149"/>
                        <a:pt x="233" y="149"/>
                      </a:cubicBezTo>
                      <a:cubicBezTo>
                        <a:pt x="238" y="120"/>
                        <a:pt x="231" y="128"/>
                        <a:pt x="231" y="128"/>
                      </a:cubicBezTo>
                      <a:cubicBezTo>
                        <a:pt x="220" y="127"/>
                        <a:pt x="216" y="134"/>
                        <a:pt x="216" y="134"/>
                      </a:cubicBezTo>
                      <a:cubicBezTo>
                        <a:pt x="203" y="136"/>
                        <a:pt x="211" y="125"/>
                        <a:pt x="211" y="125"/>
                      </a:cubicBezTo>
                      <a:cubicBezTo>
                        <a:pt x="210" y="118"/>
                        <a:pt x="203" y="117"/>
                        <a:pt x="203" y="117"/>
                      </a:cubicBezTo>
                      <a:cubicBezTo>
                        <a:pt x="194" y="115"/>
                        <a:pt x="200" y="100"/>
                        <a:pt x="183" y="101"/>
                      </a:cubicBezTo>
                      <a:cubicBezTo>
                        <a:pt x="184" y="92"/>
                        <a:pt x="171" y="84"/>
                        <a:pt x="171" y="84"/>
                      </a:cubicBezTo>
                      <a:cubicBezTo>
                        <a:pt x="171" y="84"/>
                        <a:pt x="171" y="84"/>
                        <a:pt x="171" y="84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1" name="Freeform 128"/>
                <p:cNvSpPr>
                  <a:spLocks/>
                </p:cNvSpPr>
                <p:nvPr/>
              </p:nvSpPr>
              <p:spPr bwMode="auto">
                <a:xfrm>
                  <a:off x="3850362" y="4962794"/>
                  <a:ext cx="1538028" cy="842470"/>
                </a:xfrm>
                <a:custGeom>
                  <a:avLst/>
                  <a:gdLst/>
                  <a:ahLst/>
                  <a:cxnLst>
                    <a:cxn ang="0">
                      <a:pos x="172" y="17"/>
                    </a:cxn>
                    <a:cxn ang="0">
                      <a:pos x="192" y="29"/>
                    </a:cxn>
                    <a:cxn ang="0">
                      <a:pos x="219" y="32"/>
                    </a:cxn>
                    <a:cxn ang="0">
                      <a:pos x="221" y="46"/>
                    </a:cxn>
                    <a:cxn ang="0">
                      <a:pos x="228" y="39"/>
                    </a:cxn>
                    <a:cxn ang="0">
                      <a:pos x="250" y="47"/>
                    </a:cxn>
                    <a:cxn ang="0">
                      <a:pos x="272" y="51"/>
                    </a:cxn>
                    <a:cxn ang="0">
                      <a:pos x="260" y="41"/>
                    </a:cxn>
                    <a:cxn ang="0">
                      <a:pos x="275" y="57"/>
                    </a:cxn>
                    <a:cxn ang="0">
                      <a:pos x="280" y="65"/>
                    </a:cxn>
                    <a:cxn ang="0">
                      <a:pos x="289" y="72"/>
                    </a:cxn>
                    <a:cxn ang="0">
                      <a:pos x="298" y="65"/>
                    </a:cxn>
                    <a:cxn ang="0">
                      <a:pos x="300" y="83"/>
                    </a:cxn>
                    <a:cxn ang="0">
                      <a:pos x="334" y="105"/>
                    </a:cxn>
                    <a:cxn ang="0">
                      <a:pos x="343" y="117"/>
                    </a:cxn>
                    <a:cxn ang="0">
                      <a:pos x="343" y="131"/>
                    </a:cxn>
                    <a:cxn ang="0">
                      <a:pos x="363" y="154"/>
                    </a:cxn>
                    <a:cxn ang="0">
                      <a:pos x="399" y="159"/>
                    </a:cxn>
                    <a:cxn ang="0">
                      <a:pos x="342" y="104"/>
                    </a:cxn>
                    <a:cxn ang="0">
                      <a:pos x="310" y="49"/>
                    </a:cxn>
                    <a:cxn ang="0">
                      <a:pos x="289" y="19"/>
                    </a:cxn>
                    <a:cxn ang="0">
                      <a:pos x="301" y="15"/>
                    </a:cxn>
                    <a:cxn ang="0">
                      <a:pos x="305" y="12"/>
                    </a:cxn>
                    <a:cxn ang="0">
                      <a:pos x="330" y="81"/>
                    </a:cxn>
                    <a:cxn ang="0">
                      <a:pos x="385" y="149"/>
                    </a:cxn>
                    <a:cxn ang="0">
                      <a:pos x="441" y="121"/>
                    </a:cxn>
                    <a:cxn ang="0">
                      <a:pos x="494" y="119"/>
                    </a:cxn>
                    <a:cxn ang="0">
                      <a:pos x="543" y="132"/>
                    </a:cxn>
                    <a:cxn ang="0">
                      <a:pos x="520" y="177"/>
                    </a:cxn>
                    <a:cxn ang="0">
                      <a:pos x="499" y="201"/>
                    </a:cxn>
                    <a:cxn ang="0">
                      <a:pos x="460" y="205"/>
                    </a:cxn>
                    <a:cxn ang="0">
                      <a:pos x="429" y="192"/>
                    </a:cxn>
                    <a:cxn ang="0">
                      <a:pos x="391" y="205"/>
                    </a:cxn>
                    <a:cxn ang="0">
                      <a:pos x="357" y="247"/>
                    </a:cxn>
                    <a:cxn ang="0">
                      <a:pos x="316" y="247"/>
                    </a:cxn>
                    <a:cxn ang="0">
                      <a:pos x="268" y="279"/>
                    </a:cxn>
                    <a:cxn ang="0">
                      <a:pos x="217" y="331"/>
                    </a:cxn>
                    <a:cxn ang="0">
                      <a:pos x="165" y="319"/>
                    </a:cxn>
                    <a:cxn ang="0">
                      <a:pos x="133" y="297"/>
                    </a:cxn>
                    <a:cxn ang="0">
                      <a:pos x="161" y="246"/>
                    </a:cxn>
                    <a:cxn ang="0">
                      <a:pos x="128" y="185"/>
                    </a:cxn>
                    <a:cxn ang="0">
                      <a:pos x="85" y="171"/>
                    </a:cxn>
                    <a:cxn ang="0">
                      <a:pos x="25" y="167"/>
                    </a:cxn>
                    <a:cxn ang="0">
                      <a:pos x="49" y="123"/>
                    </a:cxn>
                    <a:cxn ang="0">
                      <a:pos x="98" y="82"/>
                    </a:cxn>
                    <a:cxn ang="0">
                      <a:pos x="129" y="71"/>
                    </a:cxn>
                    <a:cxn ang="0">
                      <a:pos x="148" y="62"/>
                    </a:cxn>
                    <a:cxn ang="0">
                      <a:pos x="165" y="58"/>
                    </a:cxn>
                    <a:cxn ang="0">
                      <a:pos x="170" y="47"/>
                    </a:cxn>
                    <a:cxn ang="0">
                      <a:pos x="158" y="31"/>
                    </a:cxn>
                    <a:cxn ang="0">
                      <a:pos x="154" y="21"/>
                    </a:cxn>
                    <a:cxn ang="0">
                      <a:pos x="153" y="2"/>
                    </a:cxn>
                    <a:cxn ang="0">
                      <a:pos x="168" y="6"/>
                    </a:cxn>
                  </a:cxnLst>
                  <a:rect l="0" t="0" r="r" b="b"/>
                  <a:pathLst>
                    <a:path w="543" h="337">
                      <a:moveTo>
                        <a:pt x="168" y="6"/>
                      </a:moveTo>
                      <a:cubicBezTo>
                        <a:pt x="168" y="13"/>
                        <a:pt x="172" y="17"/>
                        <a:pt x="172" y="17"/>
                      </a:cubicBezTo>
                      <a:cubicBezTo>
                        <a:pt x="177" y="10"/>
                        <a:pt x="185" y="22"/>
                        <a:pt x="185" y="22"/>
                      </a:cubicBezTo>
                      <a:cubicBezTo>
                        <a:pt x="185" y="35"/>
                        <a:pt x="192" y="29"/>
                        <a:pt x="192" y="29"/>
                      </a:cubicBezTo>
                      <a:cubicBezTo>
                        <a:pt x="192" y="18"/>
                        <a:pt x="200" y="21"/>
                        <a:pt x="200" y="21"/>
                      </a:cubicBezTo>
                      <a:cubicBezTo>
                        <a:pt x="213" y="17"/>
                        <a:pt x="219" y="32"/>
                        <a:pt x="219" y="32"/>
                      </a:cubicBezTo>
                      <a:cubicBezTo>
                        <a:pt x="219" y="32"/>
                        <a:pt x="219" y="32"/>
                        <a:pt x="219" y="32"/>
                      </a:cubicBezTo>
                      <a:cubicBezTo>
                        <a:pt x="221" y="46"/>
                        <a:pt x="221" y="46"/>
                        <a:pt x="221" y="46"/>
                      </a:cubicBezTo>
                      <a:cubicBezTo>
                        <a:pt x="221" y="46"/>
                        <a:pt x="221" y="46"/>
                        <a:pt x="221" y="46"/>
                      </a:cubicBezTo>
                      <a:cubicBezTo>
                        <a:pt x="224" y="36"/>
                        <a:pt x="228" y="39"/>
                        <a:pt x="228" y="39"/>
                      </a:cubicBezTo>
                      <a:cubicBezTo>
                        <a:pt x="228" y="33"/>
                        <a:pt x="237" y="35"/>
                        <a:pt x="237" y="35"/>
                      </a:cubicBezTo>
                      <a:cubicBezTo>
                        <a:pt x="246" y="33"/>
                        <a:pt x="250" y="47"/>
                        <a:pt x="250" y="47"/>
                      </a:cubicBezTo>
                      <a:cubicBezTo>
                        <a:pt x="249" y="60"/>
                        <a:pt x="261" y="61"/>
                        <a:pt x="261" y="61"/>
                      </a:cubicBezTo>
                      <a:cubicBezTo>
                        <a:pt x="267" y="61"/>
                        <a:pt x="272" y="51"/>
                        <a:pt x="272" y="51"/>
                      </a:cubicBezTo>
                      <a:cubicBezTo>
                        <a:pt x="272" y="45"/>
                        <a:pt x="264" y="44"/>
                        <a:pt x="264" y="44"/>
                      </a:cubicBezTo>
                      <a:cubicBezTo>
                        <a:pt x="262" y="43"/>
                        <a:pt x="261" y="43"/>
                        <a:pt x="260" y="41"/>
                      </a:cubicBezTo>
                      <a:cubicBezTo>
                        <a:pt x="266" y="31"/>
                        <a:pt x="279" y="41"/>
                        <a:pt x="279" y="41"/>
                      </a:cubicBezTo>
                      <a:cubicBezTo>
                        <a:pt x="280" y="54"/>
                        <a:pt x="275" y="57"/>
                        <a:pt x="275" y="57"/>
                      </a:cubicBezTo>
                      <a:cubicBezTo>
                        <a:pt x="266" y="68"/>
                        <a:pt x="268" y="76"/>
                        <a:pt x="268" y="76"/>
                      </a:cubicBezTo>
                      <a:cubicBezTo>
                        <a:pt x="275" y="78"/>
                        <a:pt x="280" y="65"/>
                        <a:pt x="280" y="65"/>
                      </a:cubicBezTo>
                      <a:cubicBezTo>
                        <a:pt x="286" y="53"/>
                        <a:pt x="294" y="51"/>
                        <a:pt x="294" y="51"/>
                      </a:cubicBezTo>
                      <a:cubicBezTo>
                        <a:pt x="290" y="63"/>
                        <a:pt x="289" y="72"/>
                        <a:pt x="289" y="72"/>
                      </a:cubicBezTo>
                      <a:cubicBezTo>
                        <a:pt x="289" y="72"/>
                        <a:pt x="289" y="72"/>
                        <a:pt x="289" y="72"/>
                      </a:cubicBezTo>
                      <a:cubicBezTo>
                        <a:pt x="298" y="65"/>
                        <a:pt x="298" y="65"/>
                        <a:pt x="298" y="65"/>
                      </a:cubicBezTo>
                      <a:cubicBezTo>
                        <a:pt x="298" y="65"/>
                        <a:pt x="298" y="65"/>
                        <a:pt x="298" y="65"/>
                      </a:cubicBezTo>
                      <a:cubicBezTo>
                        <a:pt x="302" y="70"/>
                        <a:pt x="300" y="83"/>
                        <a:pt x="300" y="83"/>
                      </a:cubicBezTo>
                      <a:cubicBezTo>
                        <a:pt x="315" y="83"/>
                        <a:pt x="319" y="92"/>
                        <a:pt x="319" y="92"/>
                      </a:cubicBezTo>
                      <a:cubicBezTo>
                        <a:pt x="330" y="93"/>
                        <a:pt x="334" y="105"/>
                        <a:pt x="334" y="105"/>
                      </a:cubicBezTo>
                      <a:cubicBezTo>
                        <a:pt x="343" y="110"/>
                        <a:pt x="343" y="117"/>
                        <a:pt x="343" y="117"/>
                      </a:cubicBezTo>
                      <a:cubicBezTo>
                        <a:pt x="343" y="117"/>
                        <a:pt x="343" y="117"/>
                        <a:pt x="343" y="117"/>
                      </a:cubicBezTo>
                      <a:cubicBezTo>
                        <a:pt x="343" y="131"/>
                        <a:pt x="343" y="131"/>
                        <a:pt x="343" y="131"/>
                      </a:cubicBezTo>
                      <a:cubicBezTo>
                        <a:pt x="343" y="131"/>
                        <a:pt x="343" y="131"/>
                        <a:pt x="343" y="131"/>
                      </a:cubicBezTo>
                      <a:cubicBezTo>
                        <a:pt x="338" y="141"/>
                        <a:pt x="346" y="147"/>
                        <a:pt x="346" y="147"/>
                      </a:cubicBezTo>
                      <a:cubicBezTo>
                        <a:pt x="356" y="148"/>
                        <a:pt x="363" y="154"/>
                        <a:pt x="363" y="154"/>
                      </a:cubicBezTo>
                      <a:cubicBezTo>
                        <a:pt x="378" y="157"/>
                        <a:pt x="390" y="166"/>
                        <a:pt x="390" y="166"/>
                      </a:cubicBezTo>
                      <a:cubicBezTo>
                        <a:pt x="392" y="161"/>
                        <a:pt x="399" y="159"/>
                        <a:pt x="399" y="159"/>
                      </a:cubicBezTo>
                      <a:cubicBezTo>
                        <a:pt x="385" y="160"/>
                        <a:pt x="374" y="144"/>
                        <a:pt x="374" y="144"/>
                      </a:cubicBezTo>
                      <a:cubicBezTo>
                        <a:pt x="360" y="127"/>
                        <a:pt x="342" y="104"/>
                        <a:pt x="342" y="104"/>
                      </a:cubicBezTo>
                      <a:cubicBezTo>
                        <a:pt x="327" y="84"/>
                        <a:pt x="319" y="65"/>
                        <a:pt x="319" y="65"/>
                      </a:cubicBezTo>
                      <a:cubicBezTo>
                        <a:pt x="305" y="75"/>
                        <a:pt x="310" y="49"/>
                        <a:pt x="310" y="49"/>
                      </a:cubicBezTo>
                      <a:cubicBezTo>
                        <a:pt x="302" y="46"/>
                        <a:pt x="307" y="32"/>
                        <a:pt x="307" y="32"/>
                      </a:cubicBezTo>
                      <a:cubicBezTo>
                        <a:pt x="295" y="32"/>
                        <a:pt x="289" y="19"/>
                        <a:pt x="289" y="19"/>
                      </a:cubicBezTo>
                      <a:cubicBezTo>
                        <a:pt x="287" y="13"/>
                        <a:pt x="301" y="15"/>
                        <a:pt x="301" y="15"/>
                      </a:cubicBezTo>
                      <a:cubicBezTo>
                        <a:pt x="301" y="15"/>
                        <a:pt x="301" y="15"/>
                        <a:pt x="301" y="15"/>
                      </a:cubicBezTo>
                      <a:cubicBezTo>
                        <a:pt x="305" y="12"/>
                        <a:pt x="305" y="12"/>
                        <a:pt x="305" y="12"/>
                      </a:cubicBezTo>
                      <a:cubicBezTo>
                        <a:pt x="305" y="12"/>
                        <a:pt x="305" y="12"/>
                        <a:pt x="305" y="12"/>
                      </a:cubicBezTo>
                      <a:cubicBezTo>
                        <a:pt x="305" y="26"/>
                        <a:pt x="312" y="35"/>
                        <a:pt x="312" y="35"/>
                      </a:cubicBezTo>
                      <a:cubicBezTo>
                        <a:pt x="313" y="50"/>
                        <a:pt x="330" y="81"/>
                        <a:pt x="330" y="81"/>
                      </a:cubicBezTo>
                      <a:cubicBezTo>
                        <a:pt x="335" y="87"/>
                        <a:pt x="355" y="115"/>
                        <a:pt x="355" y="115"/>
                      </a:cubicBezTo>
                      <a:cubicBezTo>
                        <a:pt x="369" y="134"/>
                        <a:pt x="385" y="149"/>
                        <a:pt x="385" y="149"/>
                      </a:cubicBezTo>
                      <a:cubicBezTo>
                        <a:pt x="393" y="161"/>
                        <a:pt x="423" y="147"/>
                        <a:pt x="423" y="147"/>
                      </a:cubicBezTo>
                      <a:cubicBezTo>
                        <a:pt x="430" y="144"/>
                        <a:pt x="441" y="121"/>
                        <a:pt x="441" y="121"/>
                      </a:cubicBezTo>
                      <a:cubicBezTo>
                        <a:pt x="455" y="146"/>
                        <a:pt x="470" y="132"/>
                        <a:pt x="470" y="132"/>
                      </a:cubicBezTo>
                      <a:cubicBezTo>
                        <a:pt x="474" y="116"/>
                        <a:pt x="494" y="119"/>
                        <a:pt x="494" y="119"/>
                      </a:cubicBezTo>
                      <a:cubicBezTo>
                        <a:pt x="512" y="115"/>
                        <a:pt x="527" y="120"/>
                        <a:pt x="527" y="120"/>
                      </a:cubicBezTo>
                      <a:cubicBezTo>
                        <a:pt x="541" y="122"/>
                        <a:pt x="543" y="132"/>
                        <a:pt x="543" y="132"/>
                      </a:cubicBezTo>
                      <a:cubicBezTo>
                        <a:pt x="540" y="144"/>
                        <a:pt x="521" y="153"/>
                        <a:pt x="521" y="153"/>
                      </a:cubicBezTo>
                      <a:cubicBezTo>
                        <a:pt x="517" y="159"/>
                        <a:pt x="520" y="177"/>
                        <a:pt x="520" y="177"/>
                      </a:cubicBezTo>
                      <a:cubicBezTo>
                        <a:pt x="536" y="190"/>
                        <a:pt x="513" y="193"/>
                        <a:pt x="513" y="193"/>
                      </a:cubicBezTo>
                      <a:cubicBezTo>
                        <a:pt x="501" y="191"/>
                        <a:pt x="499" y="201"/>
                        <a:pt x="499" y="201"/>
                      </a:cubicBezTo>
                      <a:cubicBezTo>
                        <a:pt x="492" y="204"/>
                        <a:pt x="472" y="197"/>
                        <a:pt x="472" y="197"/>
                      </a:cubicBezTo>
                      <a:cubicBezTo>
                        <a:pt x="469" y="207"/>
                        <a:pt x="460" y="205"/>
                        <a:pt x="460" y="205"/>
                      </a:cubicBezTo>
                      <a:cubicBezTo>
                        <a:pt x="451" y="215"/>
                        <a:pt x="441" y="200"/>
                        <a:pt x="441" y="200"/>
                      </a:cubicBezTo>
                      <a:cubicBezTo>
                        <a:pt x="438" y="193"/>
                        <a:pt x="429" y="192"/>
                        <a:pt x="429" y="192"/>
                      </a:cubicBezTo>
                      <a:cubicBezTo>
                        <a:pt x="420" y="179"/>
                        <a:pt x="399" y="189"/>
                        <a:pt x="399" y="189"/>
                      </a:cubicBezTo>
                      <a:cubicBezTo>
                        <a:pt x="391" y="199"/>
                        <a:pt x="391" y="205"/>
                        <a:pt x="391" y="205"/>
                      </a:cubicBezTo>
                      <a:cubicBezTo>
                        <a:pt x="385" y="216"/>
                        <a:pt x="373" y="222"/>
                        <a:pt x="373" y="222"/>
                      </a:cubicBezTo>
                      <a:cubicBezTo>
                        <a:pt x="356" y="226"/>
                        <a:pt x="357" y="247"/>
                        <a:pt x="357" y="247"/>
                      </a:cubicBezTo>
                      <a:cubicBezTo>
                        <a:pt x="351" y="257"/>
                        <a:pt x="338" y="240"/>
                        <a:pt x="338" y="240"/>
                      </a:cubicBezTo>
                      <a:cubicBezTo>
                        <a:pt x="327" y="250"/>
                        <a:pt x="316" y="247"/>
                        <a:pt x="316" y="247"/>
                      </a:cubicBezTo>
                      <a:cubicBezTo>
                        <a:pt x="302" y="247"/>
                        <a:pt x="296" y="259"/>
                        <a:pt x="296" y="259"/>
                      </a:cubicBezTo>
                      <a:cubicBezTo>
                        <a:pt x="286" y="255"/>
                        <a:pt x="268" y="279"/>
                        <a:pt x="268" y="279"/>
                      </a:cubicBezTo>
                      <a:cubicBezTo>
                        <a:pt x="258" y="285"/>
                        <a:pt x="267" y="303"/>
                        <a:pt x="249" y="302"/>
                      </a:cubicBezTo>
                      <a:cubicBezTo>
                        <a:pt x="240" y="315"/>
                        <a:pt x="229" y="327"/>
                        <a:pt x="217" y="331"/>
                      </a:cubicBezTo>
                      <a:cubicBezTo>
                        <a:pt x="195" y="337"/>
                        <a:pt x="176" y="331"/>
                        <a:pt x="176" y="331"/>
                      </a:cubicBezTo>
                      <a:cubicBezTo>
                        <a:pt x="171" y="324"/>
                        <a:pt x="165" y="319"/>
                        <a:pt x="165" y="319"/>
                      </a:cubicBezTo>
                      <a:cubicBezTo>
                        <a:pt x="163" y="310"/>
                        <a:pt x="148" y="314"/>
                        <a:pt x="148" y="314"/>
                      </a:cubicBezTo>
                      <a:cubicBezTo>
                        <a:pt x="138" y="311"/>
                        <a:pt x="133" y="297"/>
                        <a:pt x="133" y="297"/>
                      </a:cubicBezTo>
                      <a:cubicBezTo>
                        <a:pt x="134" y="291"/>
                        <a:pt x="143" y="296"/>
                        <a:pt x="154" y="285"/>
                      </a:cubicBezTo>
                      <a:cubicBezTo>
                        <a:pt x="154" y="274"/>
                        <a:pt x="140" y="267"/>
                        <a:pt x="161" y="246"/>
                      </a:cubicBezTo>
                      <a:cubicBezTo>
                        <a:pt x="165" y="226"/>
                        <a:pt x="153" y="205"/>
                        <a:pt x="153" y="205"/>
                      </a:cubicBezTo>
                      <a:cubicBezTo>
                        <a:pt x="144" y="190"/>
                        <a:pt x="128" y="185"/>
                        <a:pt x="128" y="185"/>
                      </a:cubicBezTo>
                      <a:cubicBezTo>
                        <a:pt x="110" y="202"/>
                        <a:pt x="103" y="189"/>
                        <a:pt x="103" y="189"/>
                      </a:cubicBezTo>
                      <a:cubicBezTo>
                        <a:pt x="101" y="183"/>
                        <a:pt x="85" y="171"/>
                        <a:pt x="85" y="171"/>
                      </a:cubicBezTo>
                      <a:cubicBezTo>
                        <a:pt x="63" y="154"/>
                        <a:pt x="52" y="160"/>
                        <a:pt x="52" y="160"/>
                      </a:cubicBezTo>
                      <a:cubicBezTo>
                        <a:pt x="44" y="158"/>
                        <a:pt x="36" y="173"/>
                        <a:pt x="25" y="167"/>
                      </a:cubicBezTo>
                      <a:cubicBezTo>
                        <a:pt x="0" y="153"/>
                        <a:pt x="25" y="138"/>
                        <a:pt x="25" y="138"/>
                      </a:cubicBezTo>
                      <a:cubicBezTo>
                        <a:pt x="27" y="131"/>
                        <a:pt x="49" y="123"/>
                        <a:pt x="49" y="123"/>
                      </a:cubicBezTo>
                      <a:cubicBezTo>
                        <a:pt x="55" y="110"/>
                        <a:pt x="76" y="101"/>
                        <a:pt x="76" y="101"/>
                      </a:cubicBezTo>
                      <a:cubicBezTo>
                        <a:pt x="84" y="89"/>
                        <a:pt x="98" y="82"/>
                        <a:pt x="98" y="82"/>
                      </a:cubicBezTo>
                      <a:cubicBezTo>
                        <a:pt x="118" y="83"/>
                        <a:pt x="129" y="71"/>
                        <a:pt x="129" y="71"/>
                      </a:cubicBezTo>
                      <a:cubicBezTo>
                        <a:pt x="129" y="71"/>
                        <a:pt x="129" y="71"/>
                        <a:pt x="129" y="71"/>
                      </a:cubicBezTo>
                      <a:cubicBezTo>
                        <a:pt x="148" y="62"/>
                        <a:pt x="148" y="62"/>
                        <a:pt x="148" y="62"/>
                      </a:cubicBezTo>
                      <a:cubicBezTo>
                        <a:pt x="148" y="62"/>
                        <a:pt x="148" y="62"/>
                        <a:pt x="148" y="62"/>
                      </a:cubicBezTo>
                      <a:cubicBezTo>
                        <a:pt x="169" y="68"/>
                        <a:pt x="165" y="58"/>
                        <a:pt x="165" y="58"/>
                      </a:cubicBezTo>
                      <a:cubicBezTo>
                        <a:pt x="165" y="58"/>
                        <a:pt x="165" y="58"/>
                        <a:pt x="165" y="58"/>
                      </a:cubicBezTo>
                      <a:cubicBezTo>
                        <a:pt x="170" y="47"/>
                        <a:pt x="170" y="47"/>
                        <a:pt x="170" y="47"/>
                      </a:cubicBezTo>
                      <a:cubicBezTo>
                        <a:pt x="170" y="47"/>
                        <a:pt x="170" y="47"/>
                        <a:pt x="170" y="47"/>
                      </a:cubicBezTo>
                      <a:cubicBezTo>
                        <a:pt x="148" y="61"/>
                        <a:pt x="158" y="31"/>
                        <a:pt x="158" y="31"/>
                      </a:cubicBezTo>
                      <a:cubicBezTo>
                        <a:pt x="158" y="31"/>
                        <a:pt x="158" y="31"/>
                        <a:pt x="158" y="31"/>
                      </a:cubicBezTo>
                      <a:cubicBezTo>
                        <a:pt x="154" y="21"/>
                        <a:pt x="154" y="21"/>
                        <a:pt x="154" y="21"/>
                      </a:cubicBezTo>
                      <a:cubicBezTo>
                        <a:pt x="154" y="21"/>
                        <a:pt x="154" y="21"/>
                        <a:pt x="154" y="21"/>
                      </a:cubicBezTo>
                      <a:cubicBezTo>
                        <a:pt x="154" y="17"/>
                        <a:pt x="151" y="15"/>
                        <a:pt x="151" y="14"/>
                      </a:cubicBezTo>
                      <a:cubicBezTo>
                        <a:pt x="155" y="10"/>
                        <a:pt x="153" y="2"/>
                        <a:pt x="153" y="2"/>
                      </a:cubicBezTo>
                      <a:cubicBezTo>
                        <a:pt x="161" y="0"/>
                        <a:pt x="168" y="6"/>
                        <a:pt x="168" y="6"/>
                      </a:cubicBezTo>
                      <a:cubicBezTo>
                        <a:pt x="168" y="6"/>
                        <a:pt x="168" y="6"/>
                        <a:pt x="168" y="6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2" name="Line 33"/>
                <p:cNvSpPr>
                  <a:spLocks noChangeShapeType="1"/>
                </p:cNvSpPr>
                <p:nvPr/>
              </p:nvSpPr>
              <p:spPr bwMode="auto">
                <a:xfrm flipV="1">
                  <a:off x="3198402" y="2688930"/>
                  <a:ext cx="1362" cy="26830"/>
                </a:xfrm>
                <a:prstGeom prst="line">
                  <a:avLst/>
                </a:prstGeom>
                <a:noFill/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3" name="Freeform 32"/>
                <p:cNvSpPr>
                  <a:spLocks/>
                </p:cNvSpPr>
                <p:nvPr/>
              </p:nvSpPr>
              <p:spPr bwMode="auto">
                <a:xfrm>
                  <a:off x="3842196" y="4702541"/>
                  <a:ext cx="325299" cy="119395"/>
                </a:xfrm>
                <a:custGeom>
                  <a:avLst/>
                  <a:gdLst/>
                  <a:ahLst/>
                  <a:cxnLst>
                    <a:cxn ang="0">
                      <a:pos x="0" y="48"/>
                    </a:cxn>
                    <a:cxn ang="0">
                      <a:pos x="18" y="37"/>
                    </a:cxn>
                    <a:cxn ang="0">
                      <a:pos x="44" y="24"/>
                    </a:cxn>
                    <a:cxn ang="0">
                      <a:pos x="62" y="16"/>
                    </a:cxn>
                    <a:cxn ang="0">
                      <a:pos x="84" y="8"/>
                    </a:cxn>
                    <a:cxn ang="0">
                      <a:pos x="115" y="5"/>
                    </a:cxn>
                  </a:cxnLst>
                  <a:rect l="0" t="0" r="r" b="b"/>
                  <a:pathLst>
                    <a:path w="115" h="48">
                      <a:moveTo>
                        <a:pt x="0" y="48"/>
                      </a:moveTo>
                      <a:cubicBezTo>
                        <a:pt x="8" y="39"/>
                        <a:pt x="18" y="37"/>
                        <a:pt x="18" y="37"/>
                      </a:cubicBezTo>
                      <a:cubicBezTo>
                        <a:pt x="31" y="24"/>
                        <a:pt x="44" y="24"/>
                        <a:pt x="44" y="24"/>
                      </a:cubicBezTo>
                      <a:cubicBezTo>
                        <a:pt x="51" y="26"/>
                        <a:pt x="62" y="16"/>
                        <a:pt x="62" y="16"/>
                      </a:cubicBezTo>
                      <a:cubicBezTo>
                        <a:pt x="69" y="5"/>
                        <a:pt x="84" y="8"/>
                        <a:pt x="84" y="8"/>
                      </a:cubicBezTo>
                      <a:cubicBezTo>
                        <a:pt x="98" y="0"/>
                        <a:pt x="100" y="14"/>
                        <a:pt x="115" y="5"/>
                      </a:cubicBez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4" name="Freeform 31"/>
                <p:cNvSpPr>
                  <a:spLocks/>
                </p:cNvSpPr>
                <p:nvPr/>
              </p:nvSpPr>
              <p:spPr bwMode="auto">
                <a:xfrm>
                  <a:off x="4726902" y="3911048"/>
                  <a:ext cx="59888" cy="299158"/>
                </a:xfrm>
                <a:custGeom>
                  <a:avLst/>
                  <a:gdLst/>
                  <a:ahLst/>
                  <a:cxnLst>
                    <a:cxn ang="0">
                      <a:pos x="13" y="120"/>
                    </a:cxn>
                    <a:cxn ang="0">
                      <a:pos x="13" y="105"/>
                    </a:cxn>
                    <a:cxn ang="0">
                      <a:pos x="6" y="79"/>
                    </a:cxn>
                    <a:cxn ang="0">
                      <a:pos x="12" y="67"/>
                    </a:cxn>
                    <a:cxn ang="0">
                      <a:pos x="20" y="52"/>
                    </a:cxn>
                    <a:cxn ang="0">
                      <a:pos x="12" y="32"/>
                    </a:cxn>
                    <a:cxn ang="0">
                      <a:pos x="6" y="15"/>
                    </a:cxn>
                    <a:cxn ang="0">
                      <a:pos x="10" y="0"/>
                    </a:cxn>
                  </a:cxnLst>
                  <a:rect l="0" t="0" r="r" b="b"/>
                  <a:pathLst>
                    <a:path w="21" h="120">
                      <a:moveTo>
                        <a:pt x="13" y="120"/>
                      </a:moveTo>
                      <a:cubicBezTo>
                        <a:pt x="8" y="118"/>
                        <a:pt x="13" y="105"/>
                        <a:pt x="13" y="105"/>
                      </a:cubicBezTo>
                      <a:cubicBezTo>
                        <a:pt x="21" y="85"/>
                        <a:pt x="6" y="79"/>
                        <a:pt x="6" y="79"/>
                      </a:cubicBezTo>
                      <a:cubicBezTo>
                        <a:pt x="1" y="71"/>
                        <a:pt x="7" y="65"/>
                        <a:pt x="12" y="67"/>
                      </a:cubicBezTo>
                      <a:cubicBezTo>
                        <a:pt x="20" y="72"/>
                        <a:pt x="20" y="52"/>
                        <a:pt x="20" y="52"/>
                      </a:cubicBezTo>
                      <a:cubicBezTo>
                        <a:pt x="19" y="40"/>
                        <a:pt x="12" y="32"/>
                        <a:pt x="12" y="32"/>
                      </a:cubicBezTo>
                      <a:cubicBezTo>
                        <a:pt x="12" y="23"/>
                        <a:pt x="6" y="15"/>
                        <a:pt x="6" y="15"/>
                      </a:cubicBezTo>
                      <a:cubicBezTo>
                        <a:pt x="0" y="4"/>
                        <a:pt x="10" y="0"/>
                        <a:pt x="10" y="0"/>
                      </a:cubicBezTo>
                    </a:path>
                  </a:pathLst>
                </a:custGeom>
                <a:solidFill>
                  <a:schemeClr val="accent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5" name="Freeform 30"/>
                <p:cNvSpPr>
                  <a:spLocks/>
                </p:cNvSpPr>
                <p:nvPr/>
              </p:nvSpPr>
              <p:spPr bwMode="auto">
                <a:xfrm>
                  <a:off x="4618015" y="3916414"/>
                  <a:ext cx="117053" cy="13415"/>
                </a:xfrm>
                <a:custGeom>
                  <a:avLst/>
                  <a:gdLst/>
                  <a:ahLst/>
                  <a:cxnLst>
                    <a:cxn ang="0">
                      <a:pos x="0" y="0"/>
                    </a:cxn>
                    <a:cxn ang="0">
                      <a:pos x="21" y="0"/>
                    </a:cxn>
                    <a:cxn ang="0">
                      <a:pos x="42" y="6"/>
                    </a:cxn>
                  </a:cxnLst>
                  <a:rect l="0" t="0" r="r" b="b"/>
                  <a:pathLst>
                    <a:path w="42" h="6">
                      <a:moveTo>
                        <a:pt x="0" y="0"/>
                      </a:moveTo>
                      <a:cubicBezTo>
                        <a:pt x="12" y="4"/>
                        <a:pt x="21" y="0"/>
                        <a:pt x="21" y="0"/>
                      </a:cubicBezTo>
                      <a:cubicBezTo>
                        <a:pt x="34" y="1"/>
                        <a:pt x="42" y="6"/>
                        <a:pt x="42" y="6"/>
                      </a:cubicBezTo>
                    </a:path>
                  </a:pathLst>
                </a:custGeom>
                <a:solidFill>
                  <a:srgbClr val="99CCFF"/>
                </a:solidFill>
                <a:ln w="8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6" name="Freeform 29"/>
                <p:cNvSpPr>
                  <a:spLocks/>
                </p:cNvSpPr>
                <p:nvPr/>
              </p:nvSpPr>
              <p:spPr bwMode="auto">
                <a:xfrm>
                  <a:off x="4133468" y="3676284"/>
                  <a:ext cx="42193" cy="14756"/>
                </a:xfrm>
                <a:custGeom>
                  <a:avLst/>
                  <a:gdLst/>
                  <a:ahLst/>
                  <a:cxnLst>
                    <a:cxn ang="0">
                      <a:pos x="15" y="6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15" h="6">
                      <a:moveTo>
                        <a:pt x="15" y="6"/>
                      </a:moveTo>
                      <a:cubicBezTo>
                        <a:pt x="14" y="0"/>
                        <a:pt x="0" y="0"/>
                        <a:pt x="0" y="0"/>
                      </a:cubicBezTo>
                    </a:path>
                  </a:pathLst>
                </a:custGeom>
                <a:solidFill>
                  <a:srgbClr val="99CCFF"/>
                </a:solidFill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7" name="Line 28"/>
                <p:cNvSpPr>
                  <a:spLocks noChangeShapeType="1"/>
                </p:cNvSpPr>
                <p:nvPr/>
              </p:nvSpPr>
              <p:spPr bwMode="auto">
                <a:xfrm flipH="1" flipV="1">
                  <a:off x="3612172" y="3452251"/>
                  <a:ext cx="25861" cy="13415"/>
                </a:xfrm>
                <a:prstGeom prst="line">
                  <a:avLst/>
                </a:prstGeom>
                <a:noFill/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8" name="Freeform 27"/>
                <p:cNvSpPr>
                  <a:spLocks/>
                </p:cNvSpPr>
                <p:nvPr/>
              </p:nvSpPr>
              <p:spPr bwMode="auto">
                <a:xfrm>
                  <a:off x="3496480" y="3366394"/>
                  <a:ext cx="65332" cy="55002"/>
                </a:xfrm>
                <a:custGeom>
                  <a:avLst/>
                  <a:gdLst/>
                  <a:ahLst/>
                  <a:cxnLst>
                    <a:cxn ang="0">
                      <a:pos x="23" y="22"/>
                    </a:cxn>
                    <a:cxn ang="0">
                      <a:pos x="15" y="13"/>
                    </a:cxn>
                    <a:cxn ang="0">
                      <a:pos x="2" y="0"/>
                    </a:cxn>
                  </a:cxnLst>
                  <a:rect l="0" t="0" r="r" b="b"/>
                  <a:pathLst>
                    <a:path w="23" h="22">
                      <a:moveTo>
                        <a:pt x="23" y="22"/>
                      </a:moveTo>
                      <a:cubicBezTo>
                        <a:pt x="16" y="22"/>
                        <a:pt x="22" y="14"/>
                        <a:pt x="15" y="13"/>
                      </a:cubicBezTo>
                      <a:cubicBezTo>
                        <a:pt x="0" y="6"/>
                        <a:pt x="2" y="0"/>
                        <a:pt x="2" y="0"/>
                      </a:cubicBezTo>
                    </a:path>
                  </a:pathLst>
                </a:custGeom>
                <a:solidFill>
                  <a:srgbClr val="99CCFF"/>
                </a:solidFill>
                <a:ln w="8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39" name="Freeform 26"/>
                <p:cNvSpPr>
                  <a:spLocks/>
                </p:cNvSpPr>
                <p:nvPr/>
              </p:nvSpPr>
              <p:spPr bwMode="auto">
                <a:xfrm>
                  <a:off x="3474703" y="3248341"/>
                  <a:ext cx="38110" cy="20123"/>
                </a:xfrm>
                <a:custGeom>
                  <a:avLst/>
                  <a:gdLst/>
                  <a:ahLst/>
                  <a:cxnLst>
                    <a:cxn ang="0">
                      <a:pos x="13" y="8"/>
                    </a:cxn>
                    <a:cxn ang="0">
                      <a:pos x="0" y="4"/>
                    </a:cxn>
                  </a:cxnLst>
                  <a:rect l="0" t="0" r="r" b="b"/>
                  <a:pathLst>
                    <a:path w="14" h="8">
                      <a:moveTo>
                        <a:pt x="13" y="8"/>
                      </a:moveTo>
                      <a:cubicBezTo>
                        <a:pt x="14" y="0"/>
                        <a:pt x="0" y="4"/>
                        <a:pt x="0" y="4"/>
                      </a:cubicBezTo>
                    </a:path>
                  </a:pathLst>
                </a:custGeom>
                <a:solidFill>
                  <a:srgbClr val="99CCFF"/>
                </a:solidFill>
                <a:ln w="0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0" name="Freeform 25"/>
                <p:cNvSpPr>
                  <a:spLocks/>
                </p:cNvSpPr>
                <p:nvPr/>
              </p:nvSpPr>
              <p:spPr bwMode="auto">
                <a:xfrm>
                  <a:off x="3192957" y="2988087"/>
                  <a:ext cx="57166" cy="160982"/>
                </a:xfrm>
                <a:custGeom>
                  <a:avLst/>
                  <a:gdLst/>
                  <a:ahLst/>
                  <a:cxnLst>
                    <a:cxn ang="0">
                      <a:pos x="20" y="64"/>
                    </a:cxn>
                    <a:cxn ang="0">
                      <a:pos x="8" y="42"/>
                    </a:cxn>
                    <a:cxn ang="0">
                      <a:pos x="1" y="21"/>
                    </a:cxn>
                    <a:cxn ang="0">
                      <a:pos x="0" y="0"/>
                    </a:cxn>
                  </a:cxnLst>
                  <a:rect l="0" t="0" r="r" b="b"/>
                  <a:pathLst>
                    <a:path w="20" h="64">
                      <a:moveTo>
                        <a:pt x="20" y="64"/>
                      </a:moveTo>
                      <a:cubicBezTo>
                        <a:pt x="10" y="54"/>
                        <a:pt x="8" y="42"/>
                        <a:pt x="8" y="42"/>
                      </a:cubicBezTo>
                      <a:cubicBezTo>
                        <a:pt x="0" y="30"/>
                        <a:pt x="1" y="21"/>
                        <a:pt x="1" y="21"/>
                      </a:cubicBezTo>
                      <a:cubicBezTo>
                        <a:pt x="3" y="9"/>
                        <a:pt x="0" y="0"/>
                        <a:pt x="0" y="0"/>
                      </a:cubicBezTo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1" name="Freeform 24"/>
                <p:cNvSpPr>
                  <a:spLocks/>
                </p:cNvSpPr>
                <p:nvPr/>
              </p:nvSpPr>
              <p:spPr bwMode="auto">
                <a:xfrm>
                  <a:off x="4141635" y="4206181"/>
                  <a:ext cx="710487" cy="517824"/>
                </a:xfrm>
                <a:custGeom>
                  <a:avLst/>
                  <a:gdLst/>
                  <a:ahLst/>
                  <a:cxnLst>
                    <a:cxn ang="0">
                      <a:pos x="0" y="207"/>
                    </a:cxn>
                    <a:cxn ang="0">
                      <a:pos x="25" y="196"/>
                    </a:cxn>
                    <a:cxn ang="0">
                      <a:pos x="51" y="181"/>
                    </a:cxn>
                    <a:cxn ang="0">
                      <a:pos x="55" y="162"/>
                    </a:cxn>
                    <a:cxn ang="0">
                      <a:pos x="71" y="141"/>
                    </a:cxn>
                    <a:cxn ang="0">
                      <a:pos x="89" y="106"/>
                    </a:cxn>
                    <a:cxn ang="0">
                      <a:pos x="107" y="97"/>
                    </a:cxn>
                    <a:cxn ang="0">
                      <a:pos x="93" y="87"/>
                    </a:cxn>
                    <a:cxn ang="0">
                      <a:pos x="111" y="82"/>
                    </a:cxn>
                    <a:cxn ang="0">
                      <a:pos x="134" y="68"/>
                    </a:cxn>
                    <a:cxn ang="0">
                      <a:pos x="153" y="62"/>
                    </a:cxn>
                    <a:cxn ang="0">
                      <a:pos x="153" y="62"/>
                    </a:cxn>
                    <a:cxn ang="0">
                      <a:pos x="176" y="63"/>
                    </a:cxn>
                    <a:cxn ang="0">
                      <a:pos x="193" y="74"/>
                    </a:cxn>
                    <a:cxn ang="0">
                      <a:pos x="193" y="74"/>
                    </a:cxn>
                    <a:cxn ang="0">
                      <a:pos x="215" y="78"/>
                    </a:cxn>
                    <a:cxn ang="0">
                      <a:pos x="235" y="71"/>
                    </a:cxn>
                    <a:cxn ang="0">
                      <a:pos x="248" y="54"/>
                    </a:cxn>
                    <a:cxn ang="0">
                      <a:pos x="236" y="27"/>
                    </a:cxn>
                    <a:cxn ang="0">
                      <a:pos x="219" y="1"/>
                    </a:cxn>
                    <a:cxn ang="0">
                      <a:pos x="220" y="34"/>
                    </a:cxn>
                    <a:cxn ang="0">
                      <a:pos x="195" y="53"/>
                    </a:cxn>
                    <a:cxn ang="0">
                      <a:pos x="195" y="53"/>
                    </a:cxn>
                    <a:cxn ang="0">
                      <a:pos x="172" y="50"/>
                    </a:cxn>
                    <a:cxn ang="0">
                      <a:pos x="172" y="50"/>
                    </a:cxn>
                    <a:cxn ang="0">
                      <a:pos x="143" y="51"/>
                    </a:cxn>
                    <a:cxn ang="0">
                      <a:pos x="119" y="49"/>
                    </a:cxn>
                    <a:cxn ang="0">
                      <a:pos x="103" y="60"/>
                    </a:cxn>
                    <a:cxn ang="0">
                      <a:pos x="86" y="56"/>
                    </a:cxn>
                    <a:cxn ang="0">
                      <a:pos x="83" y="80"/>
                    </a:cxn>
                    <a:cxn ang="0">
                      <a:pos x="77" y="113"/>
                    </a:cxn>
                    <a:cxn ang="0">
                      <a:pos x="64" y="127"/>
                    </a:cxn>
                    <a:cxn ang="0">
                      <a:pos x="54" y="148"/>
                    </a:cxn>
                    <a:cxn ang="0">
                      <a:pos x="44" y="168"/>
                    </a:cxn>
                    <a:cxn ang="0">
                      <a:pos x="31" y="188"/>
                    </a:cxn>
                    <a:cxn ang="0">
                      <a:pos x="16" y="195"/>
                    </a:cxn>
                    <a:cxn ang="0">
                      <a:pos x="0" y="207"/>
                    </a:cxn>
                    <a:cxn ang="0">
                      <a:pos x="0" y="207"/>
                    </a:cxn>
                  </a:cxnLst>
                  <a:rect l="0" t="0" r="r" b="b"/>
                  <a:pathLst>
                    <a:path w="251" h="207">
                      <a:moveTo>
                        <a:pt x="0" y="207"/>
                      </a:moveTo>
                      <a:cubicBezTo>
                        <a:pt x="18" y="206"/>
                        <a:pt x="25" y="196"/>
                        <a:pt x="25" y="196"/>
                      </a:cubicBezTo>
                      <a:cubicBezTo>
                        <a:pt x="52" y="196"/>
                        <a:pt x="51" y="181"/>
                        <a:pt x="51" y="181"/>
                      </a:cubicBezTo>
                      <a:cubicBezTo>
                        <a:pt x="51" y="181"/>
                        <a:pt x="56" y="176"/>
                        <a:pt x="55" y="162"/>
                      </a:cubicBezTo>
                      <a:cubicBezTo>
                        <a:pt x="73" y="151"/>
                        <a:pt x="71" y="141"/>
                        <a:pt x="71" y="141"/>
                      </a:cubicBezTo>
                      <a:cubicBezTo>
                        <a:pt x="88" y="122"/>
                        <a:pt x="89" y="106"/>
                        <a:pt x="89" y="106"/>
                      </a:cubicBezTo>
                      <a:cubicBezTo>
                        <a:pt x="95" y="97"/>
                        <a:pt x="107" y="97"/>
                        <a:pt x="107" y="97"/>
                      </a:cubicBezTo>
                      <a:cubicBezTo>
                        <a:pt x="108" y="90"/>
                        <a:pt x="93" y="97"/>
                        <a:pt x="93" y="87"/>
                      </a:cubicBezTo>
                      <a:cubicBezTo>
                        <a:pt x="93" y="83"/>
                        <a:pt x="103" y="82"/>
                        <a:pt x="111" y="82"/>
                      </a:cubicBezTo>
                      <a:cubicBezTo>
                        <a:pt x="133" y="81"/>
                        <a:pt x="134" y="68"/>
                        <a:pt x="134" y="68"/>
                      </a:cubicBezTo>
                      <a:cubicBezTo>
                        <a:pt x="150" y="69"/>
                        <a:pt x="153" y="62"/>
                        <a:pt x="153" y="62"/>
                      </a:cubicBezTo>
                      <a:cubicBezTo>
                        <a:pt x="153" y="62"/>
                        <a:pt x="153" y="62"/>
                        <a:pt x="153" y="62"/>
                      </a:cubicBezTo>
                      <a:cubicBezTo>
                        <a:pt x="176" y="63"/>
                        <a:pt x="176" y="63"/>
                        <a:pt x="176" y="63"/>
                      </a:cubicBezTo>
                      <a:cubicBezTo>
                        <a:pt x="193" y="74"/>
                        <a:pt x="193" y="74"/>
                        <a:pt x="193" y="74"/>
                      </a:cubicBezTo>
                      <a:cubicBezTo>
                        <a:pt x="193" y="74"/>
                        <a:pt x="193" y="74"/>
                        <a:pt x="193" y="74"/>
                      </a:cubicBezTo>
                      <a:cubicBezTo>
                        <a:pt x="205" y="88"/>
                        <a:pt x="215" y="78"/>
                        <a:pt x="215" y="78"/>
                      </a:cubicBezTo>
                      <a:cubicBezTo>
                        <a:pt x="220" y="72"/>
                        <a:pt x="235" y="71"/>
                        <a:pt x="235" y="71"/>
                      </a:cubicBezTo>
                      <a:cubicBezTo>
                        <a:pt x="251" y="73"/>
                        <a:pt x="248" y="54"/>
                        <a:pt x="248" y="54"/>
                      </a:cubicBezTo>
                      <a:cubicBezTo>
                        <a:pt x="248" y="37"/>
                        <a:pt x="236" y="27"/>
                        <a:pt x="236" y="27"/>
                      </a:cubicBezTo>
                      <a:cubicBezTo>
                        <a:pt x="227" y="0"/>
                        <a:pt x="219" y="1"/>
                        <a:pt x="219" y="1"/>
                      </a:cubicBezTo>
                      <a:cubicBezTo>
                        <a:pt x="231" y="29"/>
                        <a:pt x="220" y="34"/>
                        <a:pt x="220" y="34"/>
                      </a:cubicBezTo>
                      <a:cubicBezTo>
                        <a:pt x="212" y="59"/>
                        <a:pt x="195" y="53"/>
                        <a:pt x="195" y="53"/>
                      </a:cubicBezTo>
                      <a:cubicBezTo>
                        <a:pt x="195" y="53"/>
                        <a:pt x="195" y="53"/>
                        <a:pt x="195" y="53"/>
                      </a:cubicBezTo>
                      <a:cubicBezTo>
                        <a:pt x="172" y="50"/>
                        <a:pt x="172" y="50"/>
                        <a:pt x="172" y="50"/>
                      </a:cubicBezTo>
                      <a:cubicBezTo>
                        <a:pt x="172" y="50"/>
                        <a:pt x="172" y="50"/>
                        <a:pt x="172" y="50"/>
                      </a:cubicBezTo>
                      <a:cubicBezTo>
                        <a:pt x="158" y="43"/>
                        <a:pt x="143" y="51"/>
                        <a:pt x="143" y="51"/>
                      </a:cubicBezTo>
                      <a:cubicBezTo>
                        <a:pt x="127" y="43"/>
                        <a:pt x="119" y="49"/>
                        <a:pt x="119" y="49"/>
                      </a:cubicBezTo>
                      <a:cubicBezTo>
                        <a:pt x="118" y="67"/>
                        <a:pt x="103" y="60"/>
                        <a:pt x="103" y="60"/>
                      </a:cubicBezTo>
                      <a:cubicBezTo>
                        <a:pt x="98" y="50"/>
                        <a:pt x="86" y="56"/>
                        <a:pt x="86" y="56"/>
                      </a:cubicBezTo>
                      <a:cubicBezTo>
                        <a:pt x="73" y="67"/>
                        <a:pt x="83" y="71"/>
                        <a:pt x="83" y="80"/>
                      </a:cubicBezTo>
                      <a:cubicBezTo>
                        <a:pt x="93" y="97"/>
                        <a:pt x="77" y="113"/>
                        <a:pt x="77" y="113"/>
                      </a:cubicBezTo>
                      <a:cubicBezTo>
                        <a:pt x="73" y="124"/>
                        <a:pt x="64" y="127"/>
                        <a:pt x="64" y="127"/>
                      </a:cubicBezTo>
                      <a:cubicBezTo>
                        <a:pt x="66" y="138"/>
                        <a:pt x="54" y="148"/>
                        <a:pt x="54" y="148"/>
                      </a:cubicBezTo>
                      <a:cubicBezTo>
                        <a:pt x="36" y="158"/>
                        <a:pt x="44" y="168"/>
                        <a:pt x="44" y="168"/>
                      </a:cubicBezTo>
                      <a:cubicBezTo>
                        <a:pt x="45" y="189"/>
                        <a:pt x="31" y="188"/>
                        <a:pt x="31" y="188"/>
                      </a:cubicBezTo>
                      <a:cubicBezTo>
                        <a:pt x="24" y="185"/>
                        <a:pt x="16" y="195"/>
                        <a:pt x="16" y="195"/>
                      </a:cubicBezTo>
                      <a:cubicBezTo>
                        <a:pt x="12" y="203"/>
                        <a:pt x="0" y="207"/>
                        <a:pt x="0" y="207"/>
                      </a:cubicBezTo>
                      <a:cubicBezTo>
                        <a:pt x="0" y="207"/>
                        <a:pt x="0" y="207"/>
                        <a:pt x="0" y="207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2" name="Freeform 23"/>
                <p:cNvSpPr>
                  <a:spLocks/>
                </p:cNvSpPr>
                <p:nvPr/>
              </p:nvSpPr>
              <p:spPr bwMode="auto">
                <a:xfrm>
                  <a:off x="4743235" y="3842631"/>
                  <a:ext cx="63971" cy="73783"/>
                </a:xfrm>
                <a:custGeom>
                  <a:avLst/>
                  <a:gdLst/>
                  <a:ahLst/>
                  <a:cxnLst>
                    <a:cxn ang="0">
                      <a:pos x="7" y="29"/>
                    </a:cxn>
                    <a:cxn ang="0">
                      <a:pos x="13" y="0"/>
                    </a:cxn>
                    <a:cxn ang="0">
                      <a:pos x="7" y="29"/>
                    </a:cxn>
                    <a:cxn ang="0">
                      <a:pos x="7" y="29"/>
                    </a:cxn>
                  </a:cxnLst>
                  <a:rect l="0" t="0" r="r" b="b"/>
                  <a:pathLst>
                    <a:path w="23" h="29">
                      <a:moveTo>
                        <a:pt x="7" y="29"/>
                      </a:moveTo>
                      <a:cubicBezTo>
                        <a:pt x="23" y="23"/>
                        <a:pt x="13" y="0"/>
                        <a:pt x="13" y="0"/>
                      </a:cubicBezTo>
                      <a:cubicBezTo>
                        <a:pt x="0" y="20"/>
                        <a:pt x="7" y="29"/>
                        <a:pt x="7" y="29"/>
                      </a:cubicBezTo>
                      <a:cubicBezTo>
                        <a:pt x="7" y="29"/>
                        <a:pt x="7" y="29"/>
                        <a:pt x="7" y="29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3" name="Freeform 22"/>
                <p:cNvSpPr>
                  <a:spLocks/>
                </p:cNvSpPr>
                <p:nvPr/>
              </p:nvSpPr>
              <p:spPr bwMode="auto">
                <a:xfrm>
                  <a:off x="4157968" y="3676284"/>
                  <a:ext cx="460047" cy="241472"/>
                </a:xfrm>
                <a:custGeom>
                  <a:avLst/>
                  <a:gdLst/>
                  <a:ahLst/>
                  <a:cxnLst>
                    <a:cxn ang="0">
                      <a:pos x="162" y="94"/>
                    </a:cxn>
                    <a:cxn ang="0">
                      <a:pos x="124" y="65"/>
                    </a:cxn>
                    <a:cxn ang="0">
                      <a:pos x="75" y="34"/>
                    </a:cxn>
                    <a:cxn ang="0">
                      <a:pos x="82" y="23"/>
                    </a:cxn>
                    <a:cxn ang="0">
                      <a:pos x="56" y="20"/>
                    </a:cxn>
                    <a:cxn ang="0">
                      <a:pos x="32" y="16"/>
                    </a:cxn>
                    <a:cxn ang="0">
                      <a:pos x="2" y="2"/>
                    </a:cxn>
                    <a:cxn ang="0">
                      <a:pos x="19" y="20"/>
                    </a:cxn>
                    <a:cxn ang="0">
                      <a:pos x="35" y="20"/>
                    </a:cxn>
                    <a:cxn ang="0">
                      <a:pos x="53" y="34"/>
                    </a:cxn>
                    <a:cxn ang="0">
                      <a:pos x="67" y="45"/>
                    </a:cxn>
                    <a:cxn ang="0">
                      <a:pos x="77" y="50"/>
                    </a:cxn>
                    <a:cxn ang="0">
                      <a:pos x="93" y="59"/>
                    </a:cxn>
                    <a:cxn ang="0">
                      <a:pos x="115" y="73"/>
                    </a:cxn>
                    <a:cxn ang="0">
                      <a:pos x="129" y="86"/>
                    </a:cxn>
                    <a:cxn ang="0">
                      <a:pos x="149" y="91"/>
                    </a:cxn>
                    <a:cxn ang="0">
                      <a:pos x="162" y="94"/>
                    </a:cxn>
                    <a:cxn ang="0">
                      <a:pos x="162" y="94"/>
                    </a:cxn>
                  </a:cxnLst>
                  <a:rect l="0" t="0" r="r" b="b"/>
                  <a:pathLst>
                    <a:path w="162" h="97">
                      <a:moveTo>
                        <a:pt x="162" y="94"/>
                      </a:moveTo>
                      <a:cubicBezTo>
                        <a:pt x="149" y="82"/>
                        <a:pt x="135" y="71"/>
                        <a:pt x="124" y="65"/>
                      </a:cubicBezTo>
                      <a:cubicBezTo>
                        <a:pt x="91" y="46"/>
                        <a:pt x="94" y="33"/>
                        <a:pt x="75" y="34"/>
                      </a:cubicBezTo>
                      <a:cubicBezTo>
                        <a:pt x="82" y="28"/>
                        <a:pt x="82" y="23"/>
                        <a:pt x="82" y="23"/>
                      </a:cubicBezTo>
                      <a:cubicBezTo>
                        <a:pt x="64" y="34"/>
                        <a:pt x="56" y="20"/>
                        <a:pt x="56" y="20"/>
                      </a:cubicBezTo>
                      <a:cubicBezTo>
                        <a:pt x="50" y="16"/>
                        <a:pt x="32" y="16"/>
                        <a:pt x="32" y="16"/>
                      </a:cubicBezTo>
                      <a:cubicBezTo>
                        <a:pt x="26" y="0"/>
                        <a:pt x="2" y="2"/>
                        <a:pt x="2" y="2"/>
                      </a:cubicBezTo>
                      <a:cubicBezTo>
                        <a:pt x="0" y="9"/>
                        <a:pt x="16" y="2"/>
                        <a:pt x="19" y="20"/>
                      </a:cubicBezTo>
                      <a:cubicBezTo>
                        <a:pt x="26" y="31"/>
                        <a:pt x="35" y="20"/>
                        <a:pt x="35" y="20"/>
                      </a:cubicBezTo>
                      <a:cubicBezTo>
                        <a:pt x="53" y="26"/>
                        <a:pt x="53" y="34"/>
                        <a:pt x="53" y="34"/>
                      </a:cubicBezTo>
                      <a:cubicBezTo>
                        <a:pt x="64" y="34"/>
                        <a:pt x="67" y="45"/>
                        <a:pt x="67" y="45"/>
                      </a:cubicBezTo>
                      <a:cubicBezTo>
                        <a:pt x="79" y="41"/>
                        <a:pt x="77" y="50"/>
                        <a:pt x="77" y="50"/>
                      </a:cubicBezTo>
                      <a:cubicBezTo>
                        <a:pt x="91" y="50"/>
                        <a:pt x="93" y="59"/>
                        <a:pt x="93" y="59"/>
                      </a:cubicBezTo>
                      <a:cubicBezTo>
                        <a:pt x="96" y="67"/>
                        <a:pt x="107" y="60"/>
                        <a:pt x="115" y="73"/>
                      </a:cubicBezTo>
                      <a:cubicBezTo>
                        <a:pt x="128" y="71"/>
                        <a:pt x="129" y="86"/>
                        <a:pt x="129" y="86"/>
                      </a:cubicBezTo>
                      <a:cubicBezTo>
                        <a:pt x="141" y="86"/>
                        <a:pt x="149" y="91"/>
                        <a:pt x="149" y="91"/>
                      </a:cubicBezTo>
                      <a:cubicBezTo>
                        <a:pt x="154" y="97"/>
                        <a:pt x="162" y="94"/>
                        <a:pt x="162" y="94"/>
                      </a:cubicBezTo>
                      <a:cubicBezTo>
                        <a:pt x="162" y="94"/>
                        <a:pt x="162" y="94"/>
                        <a:pt x="162" y="9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4" name="Freeform 21"/>
                <p:cNvSpPr>
                  <a:spLocks/>
                </p:cNvSpPr>
                <p:nvPr/>
              </p:nvSpPr>
              <p:spPr bwMode="auto">
                <a:xfrm>
                  <a:off x="3496480" y="3260415"/>
                  <a:ext cx="58526" cy="124760"/>
                </a:xfrm>
                <a:custGeom>
                  <a:avLst/>
                  <a:gdLst/>
                  <a:ahLst/>
                  <a:cxnLst>
                    <a:cxn ang="0">
                      <a:pos x="3" y="48"/>
                    </a:cxn>
                    <a:cxn ang="0">
                      <a:pos x="18" y="27"/>
                    </a:cxn>
                    <a:cxn ang="0">
                      <a:pos x="8" y="4"/>
                    </a:cxn>
                    <a:cxn ang="0">
                      <a:pos x="0" y="23"/>
                    </a:cxn>
                    <a:cxn ang="0">
                      <a:pos x="3" y="48"/>
                    </a:cxn>
                    <a:cxn ang="0">
                      <a:pos x="3" y="48"/>
                    </a:cxn>
                  </a:cxnLst>
                  <a:rect l="0" t="0" r="r" b="b"/>
                  <a:pathLst>
                    <a:path w="21" h="50">
                      <a:moveTo>
                        <a:pt x="3" y="48"/>
                      </a:moveTo>
                      <a:cubicBezTo>
                        <a:pt x="15" y="50"/>
                        <a:pt x="18" y="27"/>
                        <a:pt x="18" y="27"/>
                      </a:cubicBezTo>
                      <a:cubicBezTo>
                        <a:pt x="21" y="4"/>
                        <a:pt x="8" y="4"/>
                        <a:pt x="8" y="4"/>
                      </a:cubicBezTo>
                      <a:cubicBezTo>
                        <a:pt x="2" y="0"/>
                        <a:pt x="0" y="23"/>
                        <a:pt x="0" y="23"/>
                      </a:cubicBezTo>
                      <a:cubicBezTo>
                        <a:pt x="5" y="32"/>
                        <a:pt x="3" y="48"/>
                        <a:pt x="3" y="48"/>
                      </a:cubicBezTo>
                      <a:cubicBezTo>
                        <a:pt x="3" y="48"/>
                        <a:pt x="3" y="48"/>
                        <a:pt x="3" y="48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5" name="Freeform 20"/>
                <p:cNvSpPr>
                  <a:spLocks/>
                </p:cNvSpPr>
                <p:nvPr/>
              </p:nvSpPr>
              <p:spPr bwMode="auto">
                <a:xfrm>
                  <a:off x="3587672" y="3446885"/>
                  <a:ext cx="579823" cy="277694"/>
                </a:xfrm>
                <a:custGeom>
                  <a:avLst/>
                  <a:gdLst/>
                  <a:ahLst/>
                  <a:cxnLst>
                    <a:cxn ang="0">
                      <a:pos x="117" y="44"/>
                    </a:cxn>
                    <a:cxn ang="0">
                      <a:pos x="80" y="26"/>
                    </a:cxn>
                    <a:cxn ang="0">
                      <a:pos x="51" y="17"/>
                    </a:cxn>
                    <a:cxn ang="0">
                      <a:pos x="36" y="0"/>
                    </a:cxn>
                    <a:cxn ang="0">
                      <a:pos x="31" y="9"/>
                    </a:cxn>
                    <a:cxn ang="0">
                      <a:pos x="40" y="22"/>
                    </a:cxn>
                    <a:cxn ang="0">
                      <a:pos x="65" y="44"/>
                    </a:cxn>
                    <a:cxn ang="0">
                      <a:pos x="91" y="56"/>
                    </a:cxn>
                    <a:cxn ang="0">
                      <a:pos x="120" y="74"/>
                    </a:cxn>
                    <a:cxn ang="0">
                      <a:pos x="127" y="94"/>
                    </a:cxn>
                    <a:cxn ang="0">
                      <a:pos x="153" y="92"/>
                    </a:cxn>
                    <a:cxn ang="0">
                      <a:pos x="157" y="111"/>
                    </a:cxn>
                    <a:cxn ang="0">
                      <a:pos x="157" y="111"/>
                    </a:cxn>
                    <a:cxn ang="0">
                      <a:pos x="181" y="110"/>
                    </a:cxn>
                    <a:cxn ang="0">
                      <a:pos x="181" y="110"/>
                    </a:cxn>
                    <a:cxn ang="0">
                      <a:pos x="180" y="95"/>
                    </a:cxn>
                    <a:cxn ang="0">
                      <a:pos x="197" y="103"/>
                    </a:cxn>
                    <a:cxn ang="0">
                      <a:pos x="205" y="91"/>
                    </a:cxn>
                    <a:cxn ang="0">
                      <a:pos x="182" y="86"/>
                    </a:cxn>
                    <a:cxn ang="0">
                      <a:pos x="158" y="59"/>
                    </a:cxn>
                    <a:cxn ang="0">
                      <a:pos x="150" y="48"/>
                    </a:cxn>
                    <a:cxn ang="0">
                      <a:pos x="126" y="21"/>
                    </a:cxn>
                    <a:cxn ang="0">
                      <a:pos x="120" y="11"/>
                    </a:cxn>
                    <a:cxn ang="0">
                      <a:pos x="118" y="31"/>
                    </a:cxn>
                    <a:cxn ang="0">
                      <a:pos x="117" y="44"/>
                    </a:cxn>
                    <a:cxn ang="0">
                      <a:pos x="117" y="44"/>
                    </a:cxn>
                  </a:cxnLst>
                  <a:rect l="0" t="0" r="r" b="b"/>
                  <a:pathLst>
                    <a:path w="205" h="111">
                      <a:moveTo>
                        <a:pt x="117" y="44"/>
                      </a:moveTo>
                      <a:cubicBezTo>
                        <a:pt x="98" y="41"/>
                        <a:pt x="80" y="26"/>
                        <a:pt x="80" y="26"/>
                      </a:cubicBezTo>
                      <a:cubicBezTo>
                        <a:pt x="75" y="11"/>
                        <a:pt x="51" y="17"/>
                        <a:pt x="51" y="17"/>
                      </a:cubicBezTo>
                      <a:cubicBezTo>
                        <a:pt x="47" y="2"/>
                        <a:pt x="36" y="0"/>
                        <a:pt x="36" y="0"/>
                      </a:cubicBezTo>
                      <a:cubicBezTo>
                        <a:pt x="32" y="0"/>
                        <a:pt x="31" y="9"/>
                        <a:pt x="31" y="9"/>
                      </a:cubicBezTo>
                      <a:cubicBezTo>
                        <a:pt x="0" y="4"/>
                        <a:pt x="40" y="22"/>
                        <a:pt x="40" y="22"/>
                      </a:cubicBezTo>
                      <a:cubicBezTo>
                        <a:pt x="61" y="34"/>
                        <a:pt x="65" y="44"/>
                        <a:pt x="65" y="44"/>
                      </a:cubicBezTo>
                      <a:cubicBezTo>
                        <a:pt x="91" y="48"/>
                        <a:pt x="91" y="56"/>
                        <a:pt x="91" y="56"/>
                      </a:cubicBezTo>
                      <a:cubicBezTo>
                        <a:pt x="116" y="66"/>
                        <a:pt x="120" y="74"/>
                        <a:pt x="120" y="74"/>
                      </a:cubicBezTo>
                      <a:cubicBezTo>
                        <a:pt x="133" y="81"/>
                        <a:pt x="127" y="94"/>
                        <a:pt x="127" y="94"/>
                      </a:cubicBezTo>
                      <a:cubicBezTo>
                        <a:pt x="132" y="98"/>
                        <a:pt x="138" y="86"/>
                        <a:pt x="153" y="92"/>
                      </a:cubicBezTo>
                      <a:cubicBezTo>
                        <a:pt x="189" y="96"/>
                        <a:pt x="157" y="111"/>
                        <a:pt x="157" y="111"/>
                      </a:cubicBezTo>
                      <a:cubicBezTo>
                        <a:pt x="157" y="111"/>
                        <a:pt x="157" y="111"/>
                        <a:pt x="157" y="111"/>
                      </a:cubicBezTo>
                      <a:cubicBezTo>
                        <a:pt x="181" y="110"/>
                        <a:pt x="181" y="110"/>
                        <a:pt x="181" y="110"/>
                      </a:cubicBezTo>
                      <a:cubicBezTo>
                        <a:pt x="181" y="110"/>
                        <a:pt x="181" y="110"/>
                        <a:pt x="181" y="110"/>
                      </a:cubicBezTo>
                      <a:cubicBezTo>
                        <a:pt x="171" y="97"/>
                        <a:pt x="180" y="95"/>
                        <a:pt x="180" y="95"/>
                      </a:cubicBezTo>
                      <a:cubicBezTo>
                        <a:pt x="194" y="97"/>
                        <a:pt x="197" y="103"/>
                        <a:pt x="197" y="103"/>
                      </a:cubicBezTo>
                      <a:cubicBezTo>
                        <a:pt x="196" y="96"/>
                        <a:pt x="205" y="91"/>
                        <a:pt x="205" y="91"/>
                      </a:cubicBezTo>
                      <a:cubicBezTo>
                        <a:pt x="188" y="96"/>
                        <a:pt x="182" y="86"/>
                        <a:pt x="182" y="86"/>
                      </a:cubicBezTo>
                      <a:cubicBezTo>
                        <a:pt x="174" y="72"/>
                        <a:pt x="158" y="59"/>
                        <a:pt x="158" y="59"/>
                      </a:cubicBezTo>
                      <a:cubicBezTo>
                        <a:pt x="157" y="52"/>
                        <a:pt x="150" y="48"/>
                        <a:pt x="150" y="48"/>
                      </a:cubicBezTo>
                      <a:cubicBezTo>
                        <a:pt x="146" y="33"/>
                        <a:pt x="126" y="21"/>
                        <a:pt x="126" y="21"/>
                      </a:cubicBezTo>
                      <a:cubicBezTo>
                        <a:pt x="120" y="20"/>
                        <a:pt x="120" y="11"/>
                        <a:pt x="120" y="11"/>
                      </a:cubicBezTo>
                      <a:cubicBezTo>
                        <a:pt x="104" y="25"/>
                        <a:pt x="118" y="31"/>
                        <a:pt x="118" y="31"/>
                      </a:cubicBezTo>
                      <a:cubicBezTo>
                        <a:pt x="124" y="44"/>
                        <a:pt x="117" y="44"/>
                        <a:pt x="117" y="44"/>
                      </a:cubicBezTo>
                      <a:cubicBezTo>
                        <a:pt x="117" y="44"/>
                        <a:pt x="117" y="44"/>
                        <a:pt x="117" y="4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6" name="Freeform 19"/>
                <p:cNvSpPr>
                  <a:spLocks/>
                </p:cNvSpPr>
                <p:nvPr/>
              </p:nvSpPr>
              <p:spPr bwMode="auto">
                <a:xfrm>
                  <a:off x="3561812" y="3418713"/>
                  <a:ext cx="63971" cy="46953"/>
                </a:xfrm>
                <a:custGeom>
                  <a:avLst/>
                  <a:gdLst/>
                  <a:ahLst/>
                  <a:cxnLst>
                    <a:cxn ang="0">
                      <a:pos x="0" y="2"/>
                    </a:cxn>
                    <a:cxn ang="0">
                      <a:pos x="19" y="6"/>
                    </a:cxn>
                    <a:cxn ang="0">
                      <a:pos x="19" y="6"/>
                    </a:cxn>
                    <a:cxn ang="0">
                      <a:pos x="23" y="17"/>
                    </a:cxn>
                    <a:cxn ang="0">
                      <a:pos x="23" y="17"/>
                    </a:cxn>
                    <a:cxn ang="0">
                      <a:pos x="14" y="7"/>
                    </a:cxn>
                    <a:cxn ang="0">
                      <a:pos x="0" y="2"/>
                    </a:cxn>
                    <a:cxn ang="0">
                      <a:pos x="0" y="2"/>
                    </a:cxn>
                  </a:cxnLst>
                  <a:rect l="0" t="0" r="r" b="b"/>
                  <a:pathLst>
                    <a:path w="23" h="19">
                      <a:moveTo>
                        <a:pt x="0" y="2"/>
                      </a:moveTo>
                      <a:cubicBezTo>
                        <a:pt x="9" y="0"/>
                        <a:pt x="19" y="6"/>
                        <a:pt x="19" y="6"/>
                      </a:cubicBezTo>
                      <a:cubicBezTo>
                        <a:pt x="19" y="6"/>
                        <a:pt x="19" y="6"/>
                        <a:pt x="19" y="6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cubicBezTo>
                        <a:pt x="23" y="17"/>
                        <a:pt x="23" y="17"/>
                        <a:pt x="23" y="17"/>
                      </a:cubicBezTo>
                      <a:cubicBezTo>
                        <a:pt x="19" y="19"/>
                        <a:pt x="14" y="7"/>
                        <a:pt x="14" y="7"/>
                      </a:cubicBezTo>
                      <a:cubicBezTo>
                        <a:pt x="9" y="3"/>
                        <a:pt x="0" y="2"/>
                        <a:pt x="0" y="2"/>
                      </a:cubicBezTo>
                      <a:cubicBezTo>
                        <a:pt x="0" y="2"/>
                        <a:pt x="0" y="2"/>
                        <a:pt x="0" y="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4">
                  <a:solidFill>
                    <a:srgbClr val="FFFFFF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7" name="Freeform 18"/>
                <p:cNvSpPr>
                  <a:spLocks/>
                </p:cNvSpPr>
                <p:nvPr/>
              </p:nvSpPr>
              <p:spPr bwMode="auto">
                <a:xfrm>
                  <a:off x="3250123" y="3132971"/>
                  <a:ext cx="231385" cy="165006"/>
                </a:xfrm>
                <a:custGeom>
                  <a:avLst/>
                  <a:gdLst/>
                  <a:ahLst/>
                  <a:cxnLst>
                    <a:cxn ang="0">
                      <a:pos x="32" y="37"/>
                    </a:cxn>
                    <a:cxn ang="0">
                      <a:pos x="13" y="24"/>
                    </a:cxn>
                    <a:cxn ang="0">
                      <a:pos x="0" y="6"/>
                    </a:cxn>
                    <a:cxn ang="0">
                      <a:pos x="11" y="31"/>
                    </a:cxn>
                    <a:cxn ang="0">
                      <a:pos x="39" y="53"/>
                    </a:cxn>
                    <a:cxn ang="0">
                      <a:pos x="66" y="64"/>
                    </a:cxn>
                    <a:cxn ang="0">
                      <a:pos x="82" y="51"/>
                    </a:cxn>
                    <a:cxn ang="0">
                      <a:pos x="64" y="51"/>
                    </a:cxn>
                    <a:cxn ang="0">
                      <a:pos x="47" y="50"/>
                    </a:cxn>
                    <a:cxn ang="0">
                      <a:pos x="47" y="50"/>
                    </a:cxn>
                    <a:cxn ang="0">
                      <a:pos x="32" y="37"/>
                    </a:cxn>
                  </a:cxnLst>
                  <a:rect l="0" t="0" r="r" b="b"/>
                  <a:pathLst>
                    <a:path w="82" h="66">
                      <a:moveTo>
                        <a:pt x="32" y="37"/>
                      </a:moveTo>
                      <a:cubicBezTo>
                        <a:pt x="32" y="37"/>
                        <a:pt x="31" y="27"/>
                        <a:pt x="13" y="24"/>
                      </a:cubicBezTo>
                      <a:cubicBezTo>
                        <a:pt x="3" y="0"/>
                        <a:pt x="0" y="6"/>
                        <a:pt x="0" y="6"/>
                      </a:cubicBezTo>
                      <a:cubicBezTo>
                        <a:pt x="0" y="6"/>
                        <a:pt x="4" y="27"/>
                        <a:pt x="11" y="31"/>
                      </a:cubicBezTo>
                      <a:cubicBezTo>
                        <a:pt x="17" y="35"/>
                        <a:pt x="24" y="32"/>
                        <a:pt x="39" y="53"/>
                      </a:cubicBezTo>
                      <a:cubicBezTo>
                        <a:pt x="52" y="66"/>
                        <a:pt x="66" y="64"/>
                        <a:pt x="66" y="64"/>
                      </a:cubicBezTo>
                      <a:cubicBezTo>
                        <a:pt x="76" y="62"/>
                        <a:pt x="82" y="51"/>
                        <a:pt x="82" y="51"/>
                      </a:cubicBezTo>
                      <a:cubicBezTo>
                        <a:pt x="82" y="46"/>
                        <a:pt x="64" y="51"/>
                        <a:pt x="64" y="51"/>
                      </a:cubicBezTo>
                      <a:cubicBezTo>
                        <a:pt x="55" y="54"/>
                        <a:pt x="55" y="49"/>
                        <a:pt x="47" y="50"/>
                      </a:cubicBezTo>
                      <a:cubicBezTo>
                        <a:pt x="47" y="50"/>
                        <a:pt x="47" y="50"/>
                        <a:pt x="47" y="50"/>
                      </a:cubicBezTo>
                      <a:cubicBezTo>
                        <a:pt x="32" y="37"/>
                        <a:pt x="32" y="37"/>
                        <a:pt x="32" y="37"/>
                      </a:cubicBez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 w="6350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/>
                <a:lstStyle/>
                <a:p>
                  <a:pPr>
                    <a:defRPr/>
                  </a:pPr>
                  <a:endParaRPr lang="uk-UA" sz="800" dirty="0">
                    <a:solidFill>
                      <a:prstClr val="black"/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8" name="Freeform 17"/>
                <p:cNvSpPr>
                  <a:spLocks/>
                </p:cNvSpPr>
                <p:nvPr/>
              </p:nvSpPr>
              <p:spPr bwMode="auto">
                <a:xfrm>
                  <a:off x="3111292" y="2668807"/>
                  <a:ext cx="119776" cy="316597"/>
                </a:xfrm>
                <a:custGeom>
                  <a:avLst/>
                  <a:gdLst/>
                  <a:ahLst/>
                  <a:cxnLst>
                    <a:cxn ang="0">
                      <a:pos x="29" y="126"/>
                    </a:cxn>
                    <a:cxn ang="0">
                      <a:pos x="15" y="88"/>
                    </a:cxn>
                    <a:cxn ang="0">
                      <a:pos x="11" y="51"/>
                    </a:cxn>
                    <a:cxn ang="0">
                      <a:pos x="0" y="48"/>
                    </a:cxn>
                    <a:cxn ang="0">
                      <a:pos x="25" y="23"/>
                    </a:cxn>
                    <a:cxn ang="0">
                      <a:pos x="37" y="16"/>
                    </a:cxn>
                    <a:cxn ang="0">
                      <a:pos x="35" y="35"/>
                    </a:cxn>
                    <a:cxn ang="0">
                      <a:pos x="35" y="57"/>
                    </a:cxn>
                    <a:cxn ang="0">
                      <a:pos x="32" y="99"/>
                    </a:cxn>
                    <a:cxn ang="0">
                      <a:pos x="29" y="126"/>
                    </a:cxn>
                    <a:cxn ang="0">
                      <a:pos x="29" y="126"/>
                    </a:cxn>
                  </a:cxnLst>
                  <a:rect l="0" t="0" r="r" b="b"/>
                  <a:pathLst>
                    <a:path w="42" h="126">
                      <a:moveTo>
                        <a:pt x="29" y="126"/>
                      </a:moveTo>
                      <a:cubicBezTo>
                        <a:pt x="5" y="120"/>
                        <a:pt x="15" y="88"/>
                        <a:pt x="15" y="88"/>
                      </a:cubicBezTo>
                      <a:cubicBezTo>
                        <a:pt x="31" y="58"/>
                        <a:pt x="11" y="51"/>
                        <a:pt x="11" y="51"/>
                      </a:cubicBezTo>
                      <a:cubicBezTo>
                        <a:pt x="9" y="45"/>
                        <a:pt x="0" y="48"/>
                        <a:pt x="0" y="48"/>
                      </a:cubicBezTo>
                      <a:cubicBezTo>
                        <a:pt x="17" y="41"/>
                        <a:pt x="25" y="23"/>
                        <a:pt x="25" y="23"/>
                      </a:cubicBezTo>
                      <a:cubicBezTo>
                        <a:pt x="32" y="0"/>
                        <a:pt x="37" y="16"/>
                        <a:pt x="37" y="16"/>
                      </a:cubicBezTo>
                      <a:cubicBezTo>
                        <a:pt x="40" y="28"/>
                        <a:pt x="28" y="36"/>
                        <a:pt x="35" y="35"/>
                      </a:cubicBezTo>
                      <a:cubicBezTo>
                        <a:pt x="42" y="37"/>
                        <a:pt x="28" y="51"/>
                        <a:pt x="35" y="57"/>
                      </a:cubicBezTo>
                      <a:cubicBezTo>
                        <a:pt x="32" y="63"/>
                        <a:pt x="36" y="92"/>
                        <a:pt x="32" y="99"/>
                      </a:cubicBezTo>
                      <a:cubicBezTo>
                        <a:pt x="28" y="106"/>
                        <a:pt x="29" y="126"/>
                        <a:pt x="29" y="126"/>
                      </a:cubicBezTo>
                      <a:cubicBezTo>
                        <a:pt x="29" y="126"/>
                        <a:pt x="29" y="126"/>
                        <a:pt x="29" y="12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  <p:sp>
              <p:nvSpPr>
                <p:cNvPr id="249" name="Freeform 43"/>
                <p:cNvSpPr>
                  <a:spLocks/>
                </p:cNvSpPr>
                <p:nvPr/>
              </p:nvSpPr>
              <p:spPr bwMode="auto">
                <a:xfrm>
                  <a:off x="5220976" y="3505911"/>
                  <a:ext cx="894234" cy="1097357"/>
                </a:xfrm>
                <a:custGeom>
                  <a:avLst/>
                  <a:gdLst/>
                  <a:ahLst/>
                  <a:cxnLst>
                    <a:cxn ang="0">
                      <a:pos x="26" y="135"/>
                    </a:cxn>
                    <a:cxn ang="0">
                      <a:pos x="44" y="135"/>
                    </a:cxn>
                    <a:cxn ang="0">
                      <a:pos x="40" y="180"/>
                    </a:cxn>
                    <a:cxn ang="0">
                      <a:pos x="48" y="205"/>
                    </a:cxn>
                    <a:cxn ang="0">
                      <a:pos x="34" y="230"/>
                    </a:cxn>
                    <a:cxn ang="0">
                      <a:pos x="14" y="244"/>
                    </a:cxn>
                    <a:cxn ang="0">
                      <a:pos x="15" y="270"/>
                    </a:cxn>
                    <a:cxn ang="0">
                      <a:pos x="29" y="289"/>
                    </a:cxn>
                    <a:cxn ang="0">
                      <a:pos x="54" y="314"/>
                    </a:cxn>
                    <a:cxn ang="0">
                      <a:pos x="85" y="330"/>
                    </a:cxn>
                    <a:cxn ang="0">
                      <a:pos x="91" y="347"/>
                    </a:cxn>
                    <a:cxn ang="0">
                      <a:pos x="75" y="361"/>
                    </a:cxn>
                    <a:cxn ang="0">
                      <a:pos x="59" y="385"/>
                    </a:cxn>
                    <a:cxn ang="0">
                      <a:pos x="94" y="415"/>
                    </a:cxn>
                    <a:cxn ang="0">
                      <a:pos x="87" y="439"/>
                    </a:cxn>
                    <a:cxn ang="0">
                      <a:pos x="123" y="434"/>
                    </a:cxn>
                    <a:cxn ang="0">
                      <a:pos x="220" y="389"/>
                    </a:cxn>
                    <a:cxn ang="0">
                      <a:pos x="230" y="358"/>
                    </a:cxn>
                    <a:cxn ang="0">
                      <a:pos x="229" y="331"/>
                    </a:cxn>
                    <a:cxn ang="0">
                      <a:pos x="265" y="281"/>
                    </a:cxn>
                    <a:cxn ang="0">
                      <a:pos x="285" y="255"/>
                    </a:cxn>
                    <a:cxn ang="0">
                      <a:pos x="312" y="235"/>
                    </a:cxn>
                    <a:cxn ang="0">
                      <a:pos x="312" y="223"/>
                    </a:cxn>
                    <a:cxn ang="0">
                      <a:pos x="296" y="207"/>
                    </a:cxn>
                    <a:cxn ang="0">
                      <a:pos x="253" y="188"/>
                    </a:cxn>
                    <a:cxn ang="0">
                      <a:pos x="215" y="140"/>
                    </a:cxn>
                    <a:cxn ang="0">
                      <a:pos x="204" y="96"/>
                    </a:cxn>
                    <a:cxn ang="0">
                      <a:pos x="195" y="67"/>
                    </a:cxn>
                    <a:cxn ang="0">
                      <a:pos x="172" y="46"/>
                    </a:cxn>
                    <a:cxn ang="0">
                      <a:pos x="161" y="18"/>
                    </a:cxn>
                    <a:cxn ang="0">
                      <a:pos x="145" y="6"/>
                    </a:cxn>
                    <a:cxn ang="0">
                      <a:pos x="106" y="14"/>
                    </a:cxn>
                    <a:cxn ang="0">
                      <a:pos x="102" y="33"/>
                    </a:cxn>
                    <a:cxn ang="0">
                      <a:pos x="78" y="70"/>
                    </a:cxn>
                    <a:cxn ang="0">
                      <a:pos x="58" y="86"/>
                    </a:cxn>
                    <a:cxn ang="0">
                      <a:pos x="37" y="91"/>
                    </a:cxn>
                    <a:cxn ang="0">
                      <a:pos x="15" y="104"/>
                    </a:cxn>
                    <a:cxn ang="0">
                      <a:pos x="19" y="127"/>
                    </a:cxn>
                  </a:cxnLst>
                  <a:rect l="0" t="0" r="r" b="b"/>
                  <a:pathLst>
                    <a:path w="316" h="439">
                      <a:moveTo>
                        <a:pt x="19" y="127"/>
                      </a:moveTo>
                      <a:cubicBezTo>
                        <a:pt x="34" y="131"/>
                        <a:pt x="26" y="135"/>
                        <a:pt x="26" y="135"/>
                      </a:cubicBezTo>
                      <a:cubicBezTo>
                        <a:pt x="20" y="141"/>
                        <a:pt x="30" y="145"/>
                        <a:pt x="31" y="137"/>
                      </a:cubicBezTo>
                      <a:cubicBezTo>
                        <a:pt x="37" y="131"/>
                        <a:pt x="44" y="135"/>
                        <a:pt x="44" y="135"/>
                      </a:cubicBezTo>
                      <a:cubicBezTo>
                        <a:pt x="44" y="138"/>
                        <a:pt x="33" y="144"/>
                        <a:pt x="37" y="155"/>
                      </a:cubicBezTo>
                      <a:cubicBezTo>
                        <a:pt x="32" y="180"/>
                        <a:pt x="40" y="180"/>
                        <a:pt x="40" y="180"/>
                      </a:cubicBezTo>
                      <a:cubicBezTo>
                        <a:pt x="50" y="182"/>
                        <a:pt x="51" y="193"/>
                        <a:pt x="51" y="193"/>
                      </a:cubicBezTo>
                      <a:cubicBezTo>
                        <a:pt x="55" y="202"/>
                        <a:pt x="48" y="205"/>
                        <a:pt x="48" y="205"/>
                      </a:cubicBezTo>
                      <a:cubicBezTo>
                        <a:pt x="40" y="206"/>
                        <a:pt x="48" y="220"/>
                        <a:pt x="48" y="220"/>
                      </a:cubicBezTo>
                      <a:cubicBezTo>
                        <a:pt x="55" y="237"/>
                        <a:pt x="34" y="230"/>
                        <a:pt x="34" y="230"/>
                      </a:cubicBezTo>
                      <a:cubicBezTo>
                        <a:pt x="21" y="215"/>
                        <a:pt x="14" y="226"/>
                        <a:pt x="14" y="226"/>
                      </a:cubicBezTo>
                      <a:cubicBezTo>
                        <a:pt x="5" y="237"/>
                        <a:pt x="14" y="244"/>
                        <a:pt x="14" y="244"/>
                      </a:cubicBezTo>
                      <a:cubicBezTo>
                        <a:pt x="24" y="252"/>
                        <a:pt x="14" y="255"/>
                        <a:pt x="14" y="255"/>
                      </a:cubicBezTo>
                      <a:cubicBezTo>
                        <a:pt x="0" y="257"/>
                        <a:pt x="15" y="270"/>
                        <a:pt x="15" y="270"/>
                      </a:cubicBezTo>
                      <a:cubicBezTo>
                        <a:pt x="16" y="279"/>
                        <a:pt x="21" y="278"/>
                        <a:pt x="21" y="278"/>
                      </a:cubicBezTo>
                      <a:cubicBezTo>
                        <a:pt x="28" y="278"/>
                        <a:pt x="29" y="289"/>
                        <a:pt x="29" y="289"/>
                      </a:cubicBezTo>
                      <a:cubicBezTo>
                        <a:pt x="33" y="297"/>
                        <a:pt x="39" y="308"/>
                        <a:pt x="39" y="308"/>
                      </a:cubicBezTo>
                      <a:cubicBezTo>
                        <a:pt x="49" y="305"/>
                        <a:pt x="54" y="314"/>
                        <a:pt x="54" y="314"/>
                      </a:cubicBezTo>
                      <a:cubicBezTo>
                        <a:pt x="58" y="321"/>
                        <a:pt x="62" y="308"/>
                        <a:pt x="69" y="319"/>
                      </a:cubicBezTo>
                      <a:cubicBezTo>
                        <a:pt x="77" y="320"/>
                        <a:pt x="85" y="330"/>
                        <a:pt x="85" y="330"/>
                      </a:cubicBezTo>
                      <a:cubicBezTo>
                        <a:pt x="103" y="329"/>
                        <a:pt x="97" y="340"/>
                        <a:pt x="97" y="340"/>
                      </a:cubicBezTo>
                      <a:cubicBezTo>
                        <a:pt x="79" y="344"/>
                        <a:pt x="91" y="347"/>
                        <a:pt x="91" y="347"/>
                      </a:cubicBezTo>
                      <a:cubicBezTo>
                        <a:pt x="91" y="347"/>
                        <a:pt x="99" y="351"/>
                        <a:pt x="85" y="354"/>
                      </a:cubicBezTo>
                      <a:cubicBezTo>
                        <a:pt x="78" y="353"/>
                        <a:pt x="87" y="365"/>
                        <a:pt x="75" y="361"/>
                      </a:cubicBezTo>
                      <a:cubicBezTo>
                        <a:pt x="54" y="363"/>
                        <a:pt x="65" y="373"/>
                        <a:pt x="65" y="373"/>
                      </a:cubicBezTo>
                      <a:cubicBezTo>
                        <a:pt x="70" y="380"/>
                        <a:pt x="59" y="385"/>
                        <a:pt x="59" y="385"/>
                      </a:cubicBezTo>
                      <a:cubicBezTo>
                        <a:pt x="78" y="389"/>
                        <a:pt x="78" y="405"/>
                        <a:pt x="78" y="405"/>
                      </a:cubicBezTo>
                      <a:cubicBezTo>
                        <a:pt x="99" y="405"/>
                        <a:pt x="94" y="415"/>
                        <a:pt x="94" y="415"/>
                      </a:cubicBezTo>
                      <a:cubicBezTo>
                        <a:pt x="96" y="422"/>
                        <a:pt x="89" y="423"/>
                        <a:pt x="89" y="423"/>
                      </a:cubicBezTo>
                      <a:cubicBezTo>
                        <a:pt x="72" y="426"/>
                        <a:pt x="87" y="439"/>
                        <a:pt x="87" y="439"/>
                      </a:cubicBezTo>
                      <a:cubicBezTo>
                        <a:pt x="89" y="437"/>
                        <a:pt x="92" y="435"/>
                        <a:pt x="95" y="434"/>
                      </a:cubicBezTo>
                      <a:cubicBezTo>
                        <a:pt x="95" y="434"/>
                        <a:pt x="110" y="418"/>
                        <a:pt x="123" y="434"/>
                      </a:cubicBezTo>
                      <a:cubicBezTo>
                        <a:pt x="123" y="434"/>
                        <a:pt x="130" y="415"/>
                        <a:pt x="150" y="395"/>
                      </a:cubicBezTo>
                      <a:cubicBezTo>
                        <a:pt x="180" y="397"/>
                        <a:pt x="191" y="384"/>
                        <a:pt x="220" y="389"/>
                      </a:cubicBezTo>
                      <a:cubicBezTo>
                        <a:pt x="220" y="389"/>
                        <a:pt x="224" y="387"/>
                        <a:pt x="230" y="384"/>
                      </a:cubicBezTo>
                      <a:cubicBezTo>
                        <a:pt x="230" y="372"/>
                        <a:pt x="221" y="366"/>
                        <a:pt x="230" y="358"/>
                      </a:cubicBezTo>
                      <a:cubicBezTo>
                        <a:pt x="237" y="355"/>
                        <a:pt x="242" y="345"/>
                        <a:pt x="230" y="346"/>
                      </a:cubicBezTo>
                      <a:cubicBezTo>
                        <a:pt x="220" y="347"/>
                        <a:pt x="229" y="331"/>
                        <a:pt x="229" y="331"/>
                      </a:cubicBezTo>
                      <a:cubicBezTo>
                        <a:pt x="233" y="325"/>
                        <a:pt x="224" y="299"/>
                        <a:pt x="238" y="288"/>
                      </a:cubicBezTo>
                      <a:cubicBezTo>
                        <a:pt x="249" y="279"/>
                        <a:pt x="254" y="285"/>
                        <a:pt x="265" y="281"/>
                      </a:cubicBezTo>
                      <a:cubicBezTo>
                        <a:pt x="278" y="275"/>
                        <a:pt x="268" y="268"/>
                        <a:pt x="278" y="269"/>
                      </a:cubicBezTo>
                      <a:cubicBezTo>
                        <a:pt x="288" y="270"/>
                        <a:pt x="285" y="255"/>
                        <a:pt x="285" y="255"/>
                      </a:cubicBezTo>
                      <a:cubicBezTo>
                        <a:pt x="283" y="230"/>
                        <a:pt x="303" y="234"/>
                        <a:pt x="303" y="234"/>
                      </a:cubicBezTo>
                      <a:cubicBezTo>
                        <a:pt x="306" y="234"/>
                        <a:pt x="309" y="235"/>
                        <a:pt x="312" y="235"/>
                      </a:cubicBezTo>
                      <a:cubicBezTo>
                        <a:pt x="312" y="235"/>
                        <a:pt x="312" y="235"/>
                        <a:pt x="312" y="235"/>
                      </a:cubicBezTo>
                      <a:cubicBezTo>
                        <a:pt x="312" y="223"/>
                        <a:pt x="312" y="223"/>
                        <a:pt x="312" y="223"/>
                      </a:cubicBezTo>
                      <a:cubicBezTo>
                        <a:pt x="312" y="223"/>
                        <a:pt x="312" y="223"/>
                        <a:pt x="312" y="223"/>
                      </a:cubicBezTo>
                      <a:cubicBezTo>
                        <a:pt x="312" y="223"/>
                        <a:pt x="316" y="208"/>
                        <a:pt x="296" y="207"/>
                      </a:cubicBezTo>
                      <a:cubicBezTo>
                        <a:pt x="296" y="207"/>
                        <a:pt x="283" y="212"/>
                        <a:pt x="279" y="201"/>
                      </a:cubicBezTo>
                      <a:cubicBezTo>
                        <a:pt x="279" y="201"/>
                        <a:pt x="289" y="193"/>
                        <a:pt x="253" y="188"/>
                      </a:cubicBezTo>
                      <a:cubicBezTo>
                        <a:pt x="253" y="188"/>
                        <a:pt x="257" y="172"/>
                        <a:pt x="231" y="149"/>
                      </a:cubicBezTo>
                      <a:cubicBezTo>
                        <a:pt x="231" y="149"/>
                        <a:pt x="233" y="141"/>
                        <a:pt x="215" y="140"/>
                      </a:cubicBezTo>
                      <a:cubicBezTo>
                        <a:pt x="216" y="124"/>
                        <a:pt x="205" y="130"/>
                        <a:pt x="206" y="117"/>
                      </a:cubicBezTo>
                      <a:cubicBezTo>
                        <a:pt x="206" y="117"/>
                        <a:pt x="198" y="113"/>
                        <a:pt x="204" y="96"/>
                      </a:cubicBezTo>
                      <a:cubicBezTo>
                        <a:pt x="211" y="92"/>
                        <a:pt x="198" y="88"/>
                        <a:pt x="202" y="83"/>
                      </a:cubicBezTo>
                      <a:cubicBezTo>
                        <a:pt x="202" y="83"/>
                        <a:pt x="214" y="81"/>
                        <a:pt x="195" y="67"/>
                      </a:cubicBezTo>
                      <a:cubicBezTo>
                        <a:pt x="195" y="67"/>
                        <a:pt x="198" y="54"/>
                        <a:pt x="181" y="54"/>
                      </a:cubicBezTo>
                      <a:cubicBezTo>
                        <a:pt x="181" y="54"/>
                        <a:pt x="159" y="55"/>
                        <a:pt x="172" y="46"/>
                      </a:cubicBezTo>
                      <a:cubicBezTo>
                        <a:pt x="182" y="43"/>
                        <a:pt x="170" y="39"/>
                        <a:pt x="172" y="30"/>
                      </a:cubicBezTo>
                      <a:cubicBezTo>
                        <a:pt x="172" y="30"/>
                        <a:pt x="175" y="11"/>
                        <a:pt x="161" y="18"/>
                      </a:cubicBezTo>
                      <a:cubicBezTo>
                        <a:pt x="161" y="18"/>
                        <a:pt x="151" y="20"/>
                        <a:pt x="153" y="14"/>
                      </a:cubicBezTo>
                      <a:cubicBezTo>
                        <a:pt x="153" y="14"/>
                        <a:pt x="155" y="7"/>
                        <a:pt x="145" y="6"/>
                      </a:cubicBezTo>
                      <a:cubicBezTo>
                        <a:pt x="138" y="11"/>
                        <a:pt x="122" y="9"/>
                        <a:pt x="122" y="9"/>
                      </a:cubicBezTo>
                      <a:cubicBezTo>
                        <a:pt x="111" y="0"/>
                        <a:pt x="106" y="14"/>
                        <a:pt x="106" y="14"/>
                      </a:cubicBezTo>
                      <a:cubicBezTo>
                        <a:pt x="103" y="20"/>
                        <a:pt x="117" y="12"/>
                        <a:pt x="117" y="19"/>
                      </a:cubicBezTo>
                      <a:cubicBezTo>
                        <a:pt x="117" y="28"/>
                        <a:pt x="102" y="33"/>
                        <a:pt x="102" y="33"/>
                      </a:cubicBezTo>
                      <a:cubicBezTo>
                        <a:pt x="84" y="47"/>
                        <a:pt x="84" y="55"/>
                        <a:pt x="84" y="55"/>
                      </a:cubicBezTo>
                      <a:cubicBezTo>
                        <a:pt x="90" y="66"/>
                        <a:pt x="78" y="70"/>
                        <a:pt x="78" y="70"/>
                      </a:cubicBezTo>
                      <a:cubicBezTo>
                        <a:pt x="65" y="76"/>
                        <a:pt x="70" y="87"/>
                        <a:pt x="70" y="87"/>
                      </a:cubicBezTo>
                      <a:cubicBezTo>
                        <a:pt x="64" y="80"/>
                        <a:pt x="58" y="86"/>
                        <a:pt x="58" y="86"/>
                      </a:cubicBezTo>
                      <a:cubicBezTo>
                        <a:pt x="47" y="91"/>
                        <a:pt x="52" y="97"/>
                        <a:pt x="52" y="97"/>
                      </a:cubicBezTo>
                      <a:cubicBezTo>
                        <a:pt x="44" y="97"/>
                        <a:pt x="37" y="91"/>
                        <a:pt x="37" y="91"/>
                      </a:cubicBezTo>
                      <a:cubicBezTo>
                        <a:pt x="34" y="92"/>
                        <a:pt x="33" y="101"/>
                        <a:pt x="28" y="98"/>
                      </a:cubicBezTo>
                      <a:cubicBezTo>
                        <a:pt x="13" y="91"/>
                        <a:pt x="15" y="104"/>
                        <a:pt x="15" y="104"/>
                      </a:cubicBezTo>
                      <a:cubicBezTo>
                        <a:pt x="14" y="113"/>
                        <a:pt x="22" y="110"/>
                        <a:pt x="19" y="127"/>
                      </a:cubicBezTo>
                      <a:cubicBezTo>
                        <a:pt x="19" y="127"/>
                        <a:pt x="19" y="127"/>
                        <a:pt x="19" y="127"/>
                      </a:cubicBezTo>
                      <a:close/>
                    </a:path>
                  </a:pathLst>
                </a:custGeom>
                <a:solidFill>
                  <a:srgbClr val="92D050">
                    <a:alpha val="87059"/>
                  </a:srgbClr>
                </a:solidFill>
                <a:ln w="9525">
                  <a:solidFill>
                    <a:srgbClr val="FFFFFF"/>
                  </a:solidFill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pPr defTabSz="912770">
                    <a:defRPr/>
                  </a:pPr>
                  <a:endParaRPr lang="uk-UA" sz="1100" dirty="0">
                    <a:solidFill>
                      <a:prstClr val="white">
                        <a:lumMod val="65000"/>
                      </a:prstClr>
                    </a:solidFill>
                    <a:latin typeface="Calibri" panose="020F0502020204030204" pitchFamily="34" charset="0"/>
                  </a:endParaRPr>
                </a:p>
              </p:txBody>
            </p:sp>
          </p:grpSp>
          <p:sp>
            <p:nvSpPr>
              <p:cNvPr id="201" name="Oval 147"/>
              <p:cNvSpPr/>
              <p:nvPr/>
            </p:nvSpPr>
            <p:spPr bwMode="auto">
              <a:xfrm>
                <a:off x="5124994" y="2409362"/>
                <a:ext cx="142891" cy="142863"/>
              </a:xfrm>
              <a:prstGeom prst="ellipse">
                <a:avLst/>
              </a:prstGeom>
              <a:solidFill>
                <a:schemeClr val="accent2">
                  <a:lumMod val="75000"/>
                </a:schemeClr>
              </a:solidFill>
              <a:ln w="9525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 eaLnBrk="0" hangingPunct="0">
                  <a:defRPr/>
                </a:pPr>
                <a:endParaRPr lang="uk-UA" sz="1000" u="sng" dirty="0">
                  <a:solidFill>
                    <a:prstClr val="black"/>
                  </a:solidFill>
                  <a:latin typeface="Calibri" panose="020F0502020204030204" pitchFamily="34" charset="0"/>
                  <a:ea typeface="MS PGothic" pitchFamily="34" charset="-128"/>
                </a:endParaRPr>
              </a:p>
            </p:txBody>
          </p:sp>
          <p:sp>
            <p:nvSpPr>
              <p:cNvPr id="202" name="Freeform 164"/>
              <p:cNvSpPr>
                <a:spLocks noChangeAspect="1"/>
              </p:cNvSpPr>
              <p:nvPr/>
            </p:nvSpPr>
            <p:spPr bwMode="auto">
              <a:xfrm>
                <a:off x="8116178" y="3195111"/>
                <a:ext cx="871635" cy="971471"/>
              </a:xfrm>
              <a:custGeom>
                <a:avLst/>
                <a:gdLst>
                  <a:gd name="connsiteX0" fmla="*/ 127000 w 828675"/>
                  <a:gd name="connsiteY0" fmla="*/ 885825 h 885825"/>
                  <a:gd name="connsiteX1" fmla="*/ 244475 w 828675"/>
                  <a:gd name="connsiteY1" fmla="*/ 873125 h 885825"/>
                  <a:gd name="connsiteX2" fmla="*/ 234950 w 828675"/>
                  <a:gd name="connsiteY2" fmla="*/ 809625 h 885825"/>
                  <a:gd name="connsiteX3" fmla="*/ 266700 w 828675"/>
                  <a:gd name="connsiteY3" fmla="*/ 774700 h 885825"/>
                  <a:gd name="connsiteX4" fmla="*/ 228600 w 828675"/>
                  <a:gd name="connsiteY4" fmla="*/ 765175 h 885825"/>
                  <a:gd name="connsiteX5" fmla="*/ 247650 w 828675"/>
                  <a:gd name="connsiteY5" fmla="*/ 720725 h 885825"/>
                  <a:gd name="connsiteX6" fmla="*/ 244475 w 828675"/>
                  <a:gd name="connsiteY6" fmla="*/ 622300 h 885825"/>
                  <a:gd name="connsiteX7" fmla="*/ 285750 w 828675"/>
                  <a:gd name="connsiteY7" fmla="*/ 600075 h 885825"/>
                  <a:gd name="connsiteX8" fmla="*/ 361950 w 828675"/>
                  <a:gd name="connsiteY8" fmla="*/ 587375 h 885825"/>
                  <a:gd name="connsiteX9" fmla="*/ 381000 w 828675"/>
                  <a:gd name="connsiteY9" fmla="*/ 561975 h 885825"/>
                  <a:gd name="connsiteX10" fmla="*/ 419100 w 828675"/>
                  <a:gd name="connsiteY10" fmla="*/ 552450 h 885825"/>
                  <a:gd name="connsiteX11" fmla="*/ 412750 w 828675"/>
                  <a:gd name="connsiteY11" fmla="*/ 504825 h 885825"/>
                  <a:gd name="connsiteX12" fmla="*/ 434975 w 828675"/>
                  <a:gd name="connsiteY12" fmla="*/ 454025 h 885825"/>
                  <a:gd name="connsiteX13" fmla="*/ 476250 w 828675"/>
                  <a:gd name="connsiteY13" fmla="*/ 463550 h 885825"/>
                  <a:gd name="connsiteX14" fmla="*/ 774700 w 828675"/>
                  <a:gd name="connsiteY14" fmla="*/ 450850 h 885825"/>
                  <a:gd name="connsiteX15" fmla="*/ 781050 w 828675"/>
                  <a:gd name="connsiteY15" fmla="*/ 304800 h 885825"/>
                  <a:gd name="connsiteX16" fmla="*/ 828675 w 828675"/>
                  <a:gd name="connsiteY16" fmla="*/ 222250 h 885825"/>
                  <a:gd name="connsiteX17" fmla="*/ 774700 w 828675"/>
                  <a:gd name="connsiteY17" fmla="*/ 222250 h 885825"/>
                  <a:gd name="connsiteX18" fmla="*/ 774700 w 828675"/>
                  <a:gd name="connsiteY18" fmla="*/ 209550 h 885825"/>
                  <a:gd name="connsiteX19" fmla="*/ 787400 w 828675"/>
                  <a:gd name="connsiteY19" fmla="*/ 190500 h 885825"/>
                  <a:gd name="connsiteX20" fmla="*/ 768350 w 828675"/>
                  <a:gd name="connsiteY20" fmla="*/ 139700 h 885825"/>
                  <a:gd name="connsiteX21" fmla="*/ 749300 w 828675"/>
                  <a:gd name="connsiteY21" fmla="*/ 101600 h 885825"/>
                  <a:gd name="connsiteX22" fmla="*/ 717550 w 828675"/>
                  <a:gd name="connsiteY22" fmla="*/ 88900 h 885825"/>
                  <a:gd name="connsiteX23" fmla="*/ 698500 w 828675"/>
                  <a:gd name="connsiteY23" fmla="*/ 92075 h 885825"/>
                  <a:gd name="connsiteX24" fmla="*/ 603250 w 828675"/>
                  <a:gd name="connsiteY24" fmla="*/ 69850 h 885825"/>
                  <a:gd name="connsiteX25" fmla="*/ 542925 w 828675"/>
                  <a:gd name="connsiteY25" fmla="*/ 0 h 885825"/>
                  <a:gd name="connsiteX26" fmla="*/ 520700 w 828675"/>
                  <a:gd name="connsiteY26" fmla="*/ 47625 h 885825"/>
                  <a:gd name="connsiteX27" fmla="*/ 454025 w 828675"/>
                  <a:gd name="connsiteY27" fmla="*/ 63500 h 885825"/>
                  <a:gd name="connsiteX28" fmla="*/ 419100 w 828675"/>
                  <a:gd name="connsiteY28" fmla="*/ 12700 h 885825"/>
                  <a:gd name="connsiteX29" fmla="*/ 381000 w 828675"/>
                  <a:gd name="connsiteY29" fmla="*/ 44450 h 885825"/>
                  <a:gd name="connsiteX30" fmla="*/ 314325 w 828675"/>
                  <a:gd name="connsiteY30" fmla="*/ 76200 h 885825"/>
                  <a:gd name="connsiteX31" fmla="*/ 276225 w 828675"/>
                  <a:gd name="connsiteY31" fmla="*/ 117475 h 885825"/>
                  <a:gd name="connsiteX32" fmla="*/ 241300 w 828675"/>
                  <a:gd name="connsiteY32" fmla="*/ 203200 h 885825"/>
                  <a:gd name="connsiteX33" fmla="*/ 196850 w 828675"/>
                  <a:gd name="connsiteY33" fmla="*/ 228600 h 885825"/>
                  <a:gd name="connsiteX34" fmla="*/ 149225 w 828675"/>
                  <a:gd name="connsiteY34" fmla="*/ 203200 h 885825"/>
                  <a:gd name="connsiteX35" fmla="*/ 95250 w 828675"/>
                  <a:gd name="connsiteY35" fmla="*/ 247650 h 885825"/>
                  <a:gd name="connsiteX36" fmla="*/ 60325 w 828675"/>
                  <a:gd name="connsiteY36" fmla="*/ 279400 h 885825"/>
                  <a:gd name="connsiteX37" fmla="*/ 85725 w 828675"/>
                  <a:gd name="connsiteY37" fmla="*/ 323850 h 885825"/>
                  <a:gd name="connsiteX38" fmla="*/ 104775 w 828675"/>
                  <a:gd name="connsiteY38" fmla="*/ 349250 h 885825"/>
                  <a:gd name="connsiteX39" fmla="*/ 95250 w 828675"/>
                  <a:gd name="connsiteY39" fmla="*/ 381000 h 885825"/>
                  <a:gd name="connsiteX40" fmla="*/ 85725 w 828675"/>
                  <a:gd name="connsiteY40" fmla="*/ 428625 h 885825"/>
                  <a:gd name="connsiteX41" fmla="*/ 31750 w 828675"/>
                  <a:gd name="connsiteY41" fmla="*/ 444500 h 885825"/>
                  <a:gd name="connsiteX42" fmla="*/ 9525 w 828675"/>
                  <a:gd name="connsiteY42" fmla="*/ 476250 h 885825"/>
                  <a:gd name="connsiteX43" fmla="*/ 0 w 828675"/>
                  <a:gd name="connsiteY43" fmla="*/ 520700 h 885825"/>
                  <a:gd name="connsiteX44" fmla="*/ 15875 w 828675"/>
                  <a:gd name="connsiteY44" fmla="*/ 565150 h 885825"/>
                  <a:gd name="connsiteX45" fmla="*/ 28575 w 828675"/>
                  <a:gd name="connsiteY45" fmla="*/ 587375 h 885825"/>
                  <a:gd name="connsiteX46" fmla="*/ 63500 w 828675"/>
                  <a:gd name="connsiteY46" fmla="*/ 584200 h 885825"/>
                  <a:gd name="connsiteX47" fmla="*/ 76200 w 828675"/>
                  <a:gd name="connsiteY47" fmla="*/ 631825 h 885825"/>
                  <a:gd name="connsiteX48" fmla="*/ 92075 w 828675"/>
                  <a:gd name="connsiteY48" fmla="*/ 654050 h 885825"/>
                  <a:gd name="connsiteX49" fmla="*/ 114300 w 828675"/>
                  <a:gd name="connsiteY49" fmla="*/ 692150 h 885825"/>
                  <a:gd name="connsiteX50" fmla="*/ 107950 w 828675"/>
                  <a:gd name="connsiteY50" fmla="*/ 727075 h 885825"/>
                  <a:gd name="connsiteX51" fmla="*/ 133350 w 828675"/>
                  <a:gd name="connsiteY51" fmla="*/ 777875 h 885825"/>
                  <a:gd name="connsiteX52" fmla="*/ 130175 w 828675"/>
                  <a:gd name="connsiteY52" fmla="*/ 828675 h 885825"/>
                  <a:gd name="connsiteX53" fmla="*/ 127000 w 828675"/>
                  <a:gd name="connsiteY53" fmla="*/ 885825 h 8858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</a:cxnLst>
                <a:rect l="l" t="t" r="r" b="b"/>
                <a:pathLst>
                  <a:path w="828675" h="885825">
                    <a:moveTo>
                      <a:pt x="127000" y="885825"/>
                    </a:moveTo>
                    <a:lnTo>
                      <a:pt x="244475" y="873125"/>
                    </a:lnTo>
                    <a:lnTo>
                      <a:pt x="234950" y="809625"/>
                    </a:lnTo>
                    <a:lnTo>
                      <a:pt x="266700" y="774700"/>
                    </a:lnTo>
                    <a:lnTo>
                      <a:pt x="228600" y="765175"/>
                    </a:lnTo>
                    <a:lnTo>
                      <a:pt x="247650" y="720725"/>
                    </a:lnTo>
                    <a:lnTo>
                      <a:pt x="244475" y="622300"/>
                    </a:lnTo>
                    <a:lnTo>
                      <a:pt x="285750" y="600075"/>
                    </a:lnTo>
                    <a:lnTo>
                      <a:pt x="361950" y="587375"/>
                    </a:lnTo>
                    <a:lnTo>
                      <a:pt x="381000" y="561975"/>
                    </a:lnTo>
                    <a:lnTo>
                      <a:pt x="419100" y="552450"/>
                    </a:lnTo>
                    <a:lnTo>
                      <a:pt x="412750" y="504825"/>
                    </a:lnTo>
                    <a:lnTo>
                      <a:pt x="434975" y="454025"/>
                    </a:lnTo>
                    <a:lnTo>
                      <a:pt x="476250" y="463550"/>
                    </a:lnTo>
                    <a:lnTo>
                      <a:pt x="774700" y="450850"/>
                    </a:lnTo>
                    <a:lnTo>
                      <a:pt x="781050" y="304800"/>
                    </a:lnTo>
                    <a:lnTo>
                      <a:pt x="828675" y="222250"/>
                    </a:lnTo>
                    <a:lnTo>
                      <a:pt x="774700" y="222250"/>
                    </a:lnTo>
                    <a:lnTo>
                      <a:pt x="774700" y="209550"/>
                    </a:lnTo>
                    <a:lnTo>
                      <a:pt x="787400" y="190500"/>
                    </a:lnTo>
                    <a:lnTo>
                      <a:pt x="768350" y="139700"/>
                    </a:lnTo>
                    <a:lnTo>
                      <a:pt x="749300" y="101600"/>
                    </a:lnTo>
                    <a:lnTo>
                      <a:pt x="717550" y="88900"/>
                    </a:lnTo>
                    <a:lnTo>
                      <a:pt x="698500" y="92075"/>
                    </a:lnTo>
                    <a:lnTo>
                      <a:pt x="603250" y="69850"/>
                    </a:lnTo>
                    <a:lnTo>
                      <a:pt x="542925" y="0"/>
                    </a:lnTo>
                    <a:lnTo>
                      <a:pt x="520700" y="47625"/>
                    </a:lnTo>
                    <a:lnTo>
                      <a:pt x="454025" y="63500"/>
                    </a:lnTo>
                    <a:lnTo>
                      <a:pt x="419100" y="12700"/>
                    </a:lnTo>
                    <a:lnTo>
                      <a:pt x="381000" y="44450"/>
                    </a:lnTo>
                    <a:lnTo>
                      <a:pt x="314325" y="76200"/>
                    </a:lnTo>
                    <a:lnTo>
                      <a:pt x="276225" y="117475"/>
                    </a:lnTo>
                    <a:lnTo>
                      <a:pt x="241300" y="203200"/>
                    </a:lnTo>
                    <a:lnTo>
                      <a:pt x="196850" y="228600"/>
                    </a:lnTo>
                    <a:lnTo>
                      <a:pt x="149225" y="203200"/>
                    </a:lnTo>
                    <a:lnTo>
                      <a:pt x="95250" y="247650"/>
                    </a:lnTo>
                    <a:lnTo>
                      <a:pt x="60325" y="279400"/>
                    </a:lnTo>
                    <a:lnTo>
                      <a:pt x="85725" y="323850"/>
                    </a:lnTo>
                    <a:lnTo>
                      <a:pt x="104775" y="349250"/>
                    </a:lnTo>
                    <a:lnTo>
                      <a:pt x="95250" y="381000"/>
                    </a:lnTo>
                    <a:lnTo>
                      <a:pt x="85725" y="428625"/>
                    </a:lnTo>
                    <a:lnTo>
                      <a:pt x="31750" y="444500"/>
                    </a:lnTo>
                    <a:lnTo>
                      <a:pt x="9525" y="476250"/>
                    </a:lnTo>
                    <a:lnTo>
                      <a:pt x="0" y="520700"/>
                    </a:lnTo>
                    <a:lnTo>
                      <a:pt x="15875" y="565150"/>
                    </a:lnTo>
                    <a:lnTo>
                      <a:pt x="28575" y="587375"/>
                    </a:lnTo>
                    <a:lnTo>
                      <a:pt x="63500" y="584200"/>
                    </a:lnTo>
                    <a:lnTo>
                      <a:pt x="76200" y="631825"/>
                    </a:lnTo>
                    <a:lnTo>
                      <a:pt x="92075" y="654050"/>
                    </a:lnTo>
                    <a:lnTo>
                      <a:pt x="114300" y="692150"/>
                    </a:lnTo>
                    <a:lnTo>
                      <a:pt x="107950" y="727075"/>
                    </a:lnTo>
                    <a:lnTo>
                      <a:pt x="133350" y="777875"/>
                    </a:lnTo>
                    <a:lnTo>
                      <a:pt x="130175" y="828675"/>
                    </a:lnTo>
                    <a:lnTo>
                      <a:pt x="127000" y="885825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/>
            </p:spPr>
            <p:txBody>
              <a:bodyPr/>
              <a:lstStyle/>
              <a:p>
                <a:pPr eaLnBrk="0" hangingPunct="0">
                  <a:defRPr/>
                </a:pPr>
                <a:endParaRPr lang="uk-UA" sz="1000" u="sng" dirty="0">
                  <a:solidFill>
                    <a:prstClr val="black"/>
                  </a:solidFill>
                  <a:ea typeface="MS PGothic" pitchFamily="34" charset="-128"/>
                </a:endParaRPr>
              </a:p>
            </p:txBody>
          </p:sp>
        </p:grpSp>
        <p:sp>
          <p:nvSpPr>
            <p:cNvPr id="250" name="TextBox 249"/>
            <p:cNvSpPr txBox="1"/>
            <p:nvPr/>
          </p:nvSpPr>
          <p:spPr>
            <a:xfrm>
              <a:off x="2574936" y="2755896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Тернопільська</a:t>
              </a:r>
            </a:p>
          </p:txBody>
        </p:sp>
        <p:sp>
          <p:nvSpPr>
            <p:cNvPr id="251" name="TextBox 250"/>
            <p:cNvSpPr txBox="1"/>
            <p:nvPr/>
          </p:nvSpPr>
          <p:spPr>
            <a:xfrm>
              <a:off x="2602092" y="1842002"/>
              <a:ext cx="801280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Волинська</a:t>
              </a:r>
            </a:p>
          </p:txBody>
        </p:sp>
        <p:sp>
          <p:nvSpPr>
            <p:cNvPr id="252" name="TextBox 251"/>
            <p:cNvSpPr txBox="1"/>
            <p:nvPr/>
          </p:nvSpPr>
          <p:spPr>
            <a:xfrm>
              <a:off x="3317748" y="1947630"/>
              <a:ext cx="801280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Рівненська</a:t>
              </a:r>
            </a:p>
          </p:txBody>
        </p:sp>
        <p:sp>
          <p:nvSpPr>
            <p:cNvPr id="253" name="TextBox 252"/>
            <p:cNvSpPr txBox="1"/>
            <p:nvPr/>
          </p:nvSpPr>
          <p:spPr>
            <a:xfrm>
              <a:off x="3896946" y="2204864"/>
              <a:ext cx="914769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Житомирська</a:t>
              </a:r>
            </a:p>
          </p:txBody>
        </p:sp>
        <p:sp>
          <p:nvSpPr>
            <p:cNvPr id="254" name="TextBox 253"/>
            <p:cNvSpPr txBox="1"/>
            <p:nvPr/>
          </p:nvSpPr>
          <p:spPr>
            <a:xfrm>
              <a:off x="1487489" y="3342854"/>
              <a:ext cx="914769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Закарпатська</a:t>
              </a:r>
            </a:p>
          </p:txBody>
        </p:sp>
        <p:sp>
          <p:nvSpPr>
            <p:cNvPr id="255" name="TextBox 254"/>
            <p:cNvSpPr txBox="1"/>
            <p:nvPr/>
          </p:nvSpPr>
          <p:spPr>
            <a:xfrm>
              <a:off x="3010528" y="3501739"/>
              <a:ext cx="914769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Чернівецька</a:t>
              </a:r>
            </a:p>
          </p:txBody>
        </p:sp>
        <p:sp>
          <p:nvSpPr>
            <p:cNvPr id="256" name="TextBox 255"/>
            <p:cNvSpPr txBox="1"/>
            <p:nvPr/>
          </p:nvSpPr>
          <p:spPr>
            <a:xfrm>
              <a:off x="2376045" y="3212976"/>
              <a:ext cx="914769" cy="50783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Івано-Франківська</a:t>
              </a:r>
            </a:p>
          </p:txBody>
        </p:sp>
        <p:sp>
          <p:nvSpPr>
            <p:cNvPr id="257" name="TextBox 256"/>
            <p:cNvSpPr txBox="1"/>
            <p:nvPr/>
          </p:nvSpPr>
          <p:spPr>
            <a:xfrm>
              <a:off x="2201452" y="2629763"/>
              <a:ext cx="801280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Львівська</a:t>
              </a:r>
            </a:p>
          </p:txBody>
        </p:sp>
        <p:sp>
          <p:nvSpPr>
            <p:cNvPr id="258" name="TextBox 257"/>
            <p:cNvSpPr txBox="1"/>
            <p:nvPr/>
          </p:nvSpPr>
          <p:spPr>
            <a:xfrm>
              <a:off x="3378096" y="2853667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Хмельницька</a:t>
              </a:r>
            </a:p>
          </p:txBody>
        </p:sp>
        <p:sp>
          <p:nvSpPr>
            <p:cNvPr id="259" name="TextBox 258"/>
            <p:cNvSpPr txBox="1"/>
            <p:nvPr/>
          </p:nvSpPr>
          <p:spPr>
            <a:xfrm>
              <a:off x="4054903" y="3203684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Вінницька</a:t>
              </a:r>
            </a:p>
            <a:p>
              <a:pPr defTabSz="912770">
                <a:defRPr/>
              </a:pPr>
              <a:endPara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</a:endParaRPr>
            </a:p>
          </p:txBody>
        </p:sp>
        <p:sp>
          <p:nvSpPr>
            <p:cNvPr id="260" name="TextBox 259"/>
            <p:cNvSpPr txBox="1"/>
            <p:nvPr/>
          </p:nvSpPr>
          <p:spPr>
            <a:xfrm>
              <a:off x="4658276" y="2334072"/>
              <a:ext cx="1005676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Київська</a:t>
              </a:r>
            </a:p>
          </p:txBody>
        </p:sp>
        <p:sp>
          <p:nvSpPr>
            <p:cNvPr id="261" name="TextBox 260"/>
            <p:cNvSpPr txBox="1"/>
            <p:nvPr/>
          </p:nvSpPr>
          <p:spPr>
            <a:xfrm>
              <a:off x="5202244" y="3069691"/>
              <a:ext cx="1005676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Черкаська</a:t>
              </a:r>
            </a:p>
          </p:txBody>
        </p:sp>
        <p:sp>
          <p:nvSpPr>
            <p:cNvPr id="262" name="TextBox 261"/>
            <p:cNvSpPr txBox="1"/>
            <p:nvPr/>
          </p:nvSpPr>
          <p:spPr>
            <a:xfrm>
              <a:off x="4709033" y="4285841"/>
              <a:ext cx="1005676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Одеська</a:t>
              </a:r>
            </a:p>
          </p:txBody>
        </p:sp>
        <p:sp>
          <p:nvSpPr>
            <p:cNvPr id="263" name="TextBox 262"/>
            <p:cNvSpPr txBox="1"/>
            <p:nvPr/>
          </p:nvSpPr>
          <p:spPr>
            <a:xfrm>
              <a:off x="5227193" y="4030733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Миколаївська</a:t>
              </a:r>
            </a:p>
          </p:txBody>
        </p:sp>
        <p:sp>
          <p:nvSpPr>
            <p:cNvPr id="264" name="TextBox 263"/>
            <p:cNvSpPr txBox="1"/>
            <p:nvPr/>
          </p:nvSpPr>
          <p:spPr>
            <a:xfrm>
              <a:off x="6066341" y="4437843"/>
              <a:ext cx="1005676" cy="50783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Херсонська</a:t>
              </a:r>
            </a:p>
            <a:p>
              <a:pPr defTabSz="912770">
                <a:defRPr/>
              </a:pPr>
              <a:endParaRPr lang="uk-UA" sz="900" dirty="0">
                <a:solidFill>
                  <a:prstClr val="black"/>
                </a:solidFill>
                <a:effectLst>
                  <a:glow rad="101600">
                    <a:prstClr val="white">
                      <a:alpha val="60000"/>
                    </a:prstClr>
                  </a:glow>
                </a:effectLst>
                <a:latin typeface="Arial"/>
              </a:endParaRPr>
            </a:p>
          </p:txBody>
        </p:sp>
        <p:sp>
          <p:nvSpPr>
            <p:cNvPr id="265" name="TextBox 264"/>
            <p:cNvSpPr txBox="1"/>
            <p:nvPr/>
          </p:nvSpPr>
          <p:spPr>
            <a:xfrm>
              <a:off x="7002445" y="4257300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Запорізька</a:t>
              </a:r>
            </a:p>
          </p:txBody>
        </p:sp>
        <p:sp>
          <p:nvSpPr>
            <p:cNvPr id="266" name="TextBox 265"/>
            <p:cNvSpPr txBox="1"/>
            <p:nvPr/>
          </p:nvSpPr>
          <p:spPr>
            <a:xfrm>
              <a:off x="5337202" y="3400337"/>
              <a:ext cx="1005676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Кіровоградська</a:t>
              </a:r>
            </a:p>
          </p:txBody>
        </p:sp>
        <p:sp>
          <p:nvSpPr>
            <p:cNvPr id="267" name="TextBox 266"/>
            <p:cNvSpPr txBox="1"/>
            <p:nvPr/>
          </p:nvSpPr>
          <p:spPr>
            <a:xfrm>
              <a:off x="6336037" y="3453523"/>
              <a:ext cx="1156947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Дніпропетровська</a:t>
              </a:r>
            </a:p>
          </p:txBody>
        </p:sp>
        <p:sp>
          <p:nvSpPr>
            <p:cNvPr id="268" name="TextBox 267"/>
            <p:cNvSpPr txBox="1"/>
            <p:nvPr/>
          </p:nvSpPr>
          <p:spPr>
            <a:xfrm>
              <a:off x="5991896" y="2694843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Полтавська</a:t>
              </a:r>
            </a:p>
          </p:txBody>
        </p:sp>
        <p:sp>
          <p:nvSpPr>
            <p:cNvPr id="269" name="TextBox 268"/>
            <p:cNvSpPr txBox="1"/>
            <p:nvPr/>
          </p:nvSpPr>
          <p:spPr>
            <a:xfrm>
              <a:off x="5196127" y="1771264"/>
              <a:ext cx="1106800" cy="3693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Чернігівська</a:t>
              </a:r>
            </a:p>
          </p:txBody>
        </p:sp>
        <p:sp>
          <p:nvSpPr>
            <p:cNvPr id="270" name="TextBox 269"/>
            <p:cNvSpPr txBox="1"/>
            <p:nvPr/>
          </p:nvSpPr>
          <p:spPr>
            <a:xfrm>
              <a:off x="6054258" y="1916832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Сумська</a:t>
              </a:r>
            </a:p>
          </p:txBody>
        </p:sp>
        <p:sp>
          <p:nvSpPr>
            <p:cNvPr id="271" name="TextBox 270"/>
            <p:cNvSpPr txBox="1"/>
            <p:nvPr/>
          </p:nvSpPr>
          <p:spPr>
            <a:xfrm>
              <a:off x="7091286" y="2771053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Харківська</a:t>
              </a:r>
            </a:p>
          </p:txBody>
        </p:sp>
        <p:sp>
          <p:nvSpPr>
            <p:cNvPr id="272" name="TextBox 271"/>
            <p:cNvSpPr txBox="1"/>
            <p:nvPr/>
          </p:nvSpPr>
          <p:spPr>
            <a:xfrm>
              <a:off x="8033611" y="2879324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Луганська</a:t>
              </a:r>
            </a:p>
          </p:txBody>
        </p:sp>
        <p:sp>
          <p:nvSpPr>
            <p:cNvPr id="273" name="TextBox 272"/>
            <p:cNvSpPr txBox="1"/>
            <p:nvPr/>
          </p:nvSpPr>
          <p:spPr>
            <a:xfrm>
              <a:off x="7597852" y="3583314"/>
              <a:ext cx="1106800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Донецька</a:t>
              </a:r>
            </a:p>
          </p:txBody>
        </p:sp>
        <p:sp>
          <p:nvSpPr>
            <p:cNvPr id="274" name="TextBox 273"/>
            <p:cNvSpPr txBox="1"/>
            <p:nvPr/>
          </p:nvSpPr>
          <p:spPr>
            <a:xfrm>
              <a:off x="5087888" y="2420888"/>
              <a:ext cx="1005676" cy="23083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defTabSz="912770">
                <a:defRPr/>
              </a:pPr>
              <a:r>
                <a:rPr lang="uk-UA" sz="900" dirty="0">
                  <a:solidFill>
                    <a:prstClr val="black"/>
                  </a:solidFill>
                  <a:effectLst>
                    <a:glow rad="101600">
                      <a:prstClr val="white">
                        <a:alpha val="60000"/>
                      </a:prstClr>
                    </a:glow>
                  </a:effectLst>
                  <a:latin typeface="Arial"/>
                </a:rPr>
                <a:t>м. Київ</a:t>
              </a:r>
            </a:p>
          </p:txBody>
        </p:sp>
        <p:sp>
          <p:nvSpPr>
            <p:cNvPr id="275" name="Прямоугольник 181"/>
            <p:cNvSpPr/>
            <p:nvPr/>
          </p:nvSpPr>
          <p:spPr>
            <a:xfrm>
              <a:off x="2762938" y="2042530"/>
              <a:ext cx="540000" cy="235992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22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76" name="Прямоугольник 182"/>
            <p:cNvSpPr/>
            <p:nvPr/>
          </p:nvSpPr>
          <p:spPr>
            <a:xfrm>
              <a:off x="2884705" y="2937556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53</a:t>
              </a:r>
              <a:endParaRPr lang="ru-RU" sz="12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77" name="Прямоугольник 183"/>
            <p:cNvSpPr/>
            <p:nvPr/>
          </p:nvSpPr>
          <p:spPr>
            <a:xfrm>
              <a:off x="4187848" y="3509734"/>
              <a:ext cx="540000" cy="272919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22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78" name="Прямоугольник 184"/>
            <p:cNvSpPr/>
            <p:nvPr/>
          </p:nvSpPr>
          <p:spPr>
            <a:xfrm>
              <a:off x="3092385" y="3721124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15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79" name="Прямоугольник 185"/>
            <p:cNvSpPr/>
            <p:nvPr/>
          </p:nvSpPr>
          <p:spPr>
            <a:xfrm>
              <a:off x="7152967" y="2997739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>
                  <a:solidFill>
                    <a:sysClr val="window" lastClr="FFFFFF"/>
                  </a:solidFill>
                  <a:latin typeface="Arial"/>
                </a:rPr>
                <a:t>25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0" name="Прямоугольник 186"/>
            <p:cNvSpPr/>
            <p:nvPr/>
          </p:nvSpPr>
          <p:spPr>
            <a:xfrm>
              <a:off x="5418139" y="4241621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22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1" name="Прямоугольник 188"/>
            <p:cNvSpPr/>
            <p:nvPr/>
          </p:nvSpPr>
          <p:spPr>
            <a:xfrm>
              <a:off x="4665735" y="2695086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19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2" name="Прямоугольник 190"/>
            <p:cNvSpPr/>
            <p:nvPr/>
          </p:nvSpPr>
          <p:spPr>
            <a:xfrm>
              <a:off x="5376268" y="1945957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ysClr val="window" lastClr="FFFFFF"/>
                  </a:solidFill>
                  <a:latin typeface="Arial"/>
                </a:rPr>
                <a:t>75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3" name="Прямоугольник 191"/>
            <p:cNvSpPr/>
            <p:nvPr/>
          </p:nvSpPr>
          <p:spPr>
            <a:xfrm>
              <a:off x="6358585" y="2117373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ysClr val="window" lastClr="FFFFFF"/>
                  </a:solidFill>
                  <a:latin typeface="Arial"/>
                </a:rPr>
                <a:t>69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4" name="Прямоугольник 192"/>
            <p:cNvSpPr/>
            <p:nvPr/>
          </p:nvSpPr>
          <p:spPr>
            <a:xfrm>
              <a:off x="3404938" y="2213928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11</a:t>
              </a:r>
              <a:endParaRPr lang="ru-RU" sz="10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5" name="Прямоугольник 193"/>
            <p:cNvSpPr/>
            <p:nvPr/>
          </p:nvSpPr>
          <p:spPr>
            <a:xfrm>
              <a:off x="1838009" y="3543897"/>
              <a:ext cx="540000" cy="237639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90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6" name="Прямоугольник 195"/>
            <p:cNvSpPr/>
            <p:nvPr/>
          </p:nvSpPr>
          <p:spPr>
            <a:xfrm>
              <a:off x="7597852" y="3814145"/>
              <a:ext cx="540000" cy="267786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ysClr val="window" lastClr="FFFFFF"/>
                  </a:solidFill>
                  <a:latin typeface="Arial"/>
                </a:rPr>
                <a:t>38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7" name="Прямоугольник 196"/>
            <p:cNvSpPr/>
            <p:nvPr/>
          </p:nvSpPr>
          <p:spPr>
            <a:xfrm>
              <a:off x="6930409" y="4484425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ysClr val="window" lastClr="FFFFFF"/>
                  </a:solidFill>
                  <a:latin typeface="Arial"/>
                </a:rPr>
                <a:t>12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8" name="Прямоугольник 197"/>
            <p:cNvSpPr/>
            <p:nvPr/>
          </p:nvSpPr>
          <p:spPr>
            <a:xfrm>
              <a:off x="5962525" y="4667082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ysClr val="window" lastClr="FFFFFF"/>
                  </a:solidFill>
                  <a:latin typeface="Arial"/>
                </a:rPr>
                <a:t>31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89" name="Прямоугольник 198"/>
            <p:cNvSpPr/>
            <p:nvPr/>
          </p:nvSpPr>
          <p:spPr>
            <a:xfrm>
              <a:off x="4914650" y="3260740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21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0" name="Прямоугольник 199"/>
            <p:cNvSpPr/>
            <p:nvPr/>
          </p:nvSpPr>
          <p:spPr>
            <a:xfrm>
              <a:off x="8135937" y="3108134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ysClr val="window" lastClr="FFFFFF"/>
                  </a:solidFill>
                  <a:latin typeface="Arial"/>
                </a:rPr>
                <a:t>52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1" name="Прямоугольник 202"/>
            <p:cNvSpPr/>
            <p:nvPr/>
          </p:nvSpPr>
          <p:spPr>
            <a:xfrm>
              <a:off x="3492151" y="3038116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41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2" name="Прямоугольник 185"/>
            <p:cNvSpPr/>
            <p:nvPr/>
          </p:nvSpPr>
          <p:spPr>
            <a:xfrm>
              <a:off x="6318425" y="3637424"/>
              <a:ext cx="540000" cy="279141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ysClr val="window" lastClr="FFFFFF"/>
                  </a:solidFill>
                  <a:latin typeface="Arial"/>
                </a:rPr>
                <a:t>10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3" name="Прямоугольник 185"/>
            <p:cNvSpPr/>
            <p:nvPr/>
          </p:nvSpPr>
          <p:spPr>
            <a:xfrm>
              <a:off x="5563319" y="3587810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16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4" name="Прямоугольник 189"/>
            <p:cNvSpPr/>
            <p:nvPr/>
          </p:nvSpPr>
          <p:spPr>
            <a:xfrm>
              <a:off x="5244227" y="2636912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>
                  <a:solidFill>
                    <a:sysClr val="window" lastClr="FFFFFF"/>
                  </a:solidFill>
                  <a:latin typeface="Arial"/>
                </a:rPr>
                <a:t>1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295" name="Прямоугольник 294"/>
            <p:cNvSpPr/>
            <p:nvPr/>
          </p:nvSpPr>
          <p:spPr>
            <a:xfrm>
              <a:off x="4102608" y="2460847"/>
              <a:ext cx="540000" cy="247413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41</a:t>
              </a:r>
              <a:endParaRPr lang="uk-UA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102" name="Прямоугольник 184"/>
            <p:cNvSpPr/>
            <p:nvPr/>
          </p:nvSpPr>
          <p:spPr>
            <a:xfrm>
              <a:off x="2512458" y="3543431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ysClr val="window" lastClr="FFFFFF"/>
                  </a:solidFill>
                  <a:latin typeface="Arial"/>
                </a:rPr>
                <a:t>26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103" name="Прямоугольник 184"/>
            <p:cNvSpPr/>
            <p:nvPr/>
          </p:nvSpPr>
          <p:spPr>
            <a:xfrm>
              <a:off x="1925325" y="2786843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78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104" name="Прямоугольник 189"/>
            <p:cNvSpPr/>
            <p:nvPr/>
          </p:nvSpPr>
          <p:spPr>
            <a:xfrm>
              <a:off x="6095731" y="2918479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1</a:t>
              </a:r>
              <a:r>
                <a:rPr lang="en-US" sz="1400" b="1" kern="0" dirty="0" smtClean="0">
                  <a:solidFill>
                    <a:sysClr val="window" lastClr="FFFFFF"/>
                  </a:solidFill>
                  <a:latin typeface="Arial"/>
                </a:rPr>
                <a:t>7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sp>
          <p:nvSpPr>
            <p:cNvPr id="105" name="Прямоугольник 184"/>
            <p:cNvSpPr/>
            <p:nvPr/>
          </p:nvSpPr>
          <p:spPr>
            <a:xfrm>
              <a:off x="4513356" y="4781537"/>
              <a:ext cx="540000" cy="252000"/>
            </a:xfrm>
            <a:prstGeom prst="rect">
              <a:avLst/>
            </a:prstGeom>
            <a:solidFill>
              <a:srgbClr val="1F497D">
                <a:lumMod val="60000"/>
                <a:lumOff val="40000"/>
              </a:srgbClr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ru-RU" sz="1400" b="1" kern="0" dirty="0" smtClean="0">
                  <a:solidFill>
                    <a:sysClr val="window" lastClr="FFFFFF"/>
                  </a:solidFill>
                  <a:latin typeface="Arial"/>
                </a:rPr>
                <a:t>3</a:t>
              </a:r>
              <a:endParaRPr lang="ru-RU" sz="1400" b="1" kern="0" dirty="0">
                <a:solidFill>
                  <a:sysClr val="window" lastClr="FFFFFF"/>
                </a:solidFill>
                <a:latin typeface="Arial"/>
              </a:endParaRPr>
            </a:p>
          </p:txBody>
        </p:sp>
        <p:cxnSp>
          <p:nvCxnSpPr>
            <p:cNvPr id="106" name="Straight Connector 6"/>
            <p:cNvCxnSpPr/>
            <p:nvPr/>
          </p:nvCxnSpPr>
          <p:spPr>
            <a:xfrm flipH="1" flipV="1">
              <a:off x="5124126" y="2667675"/>
              <a:ext cx="224443" cy="153091"/>
            </a:xfrm>
            <a:prstGeom prst="line">
              <a:avLst/>
            </a:prstGeom>
            <a:ln w="28575">
              <a:solidFill>
                <a:srgbClr val="558ED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8" name="Прямоугольник 184"/>
            <p:cNvSpPr/>
            <p:nvPr/>
          </p:nvSpPr>
          <p:spPr>
            <a:xfrm>
              <a:off x="2758356" y="2266320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1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7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09" name="Прямоугольник 184"/>
            <p:cNvSpPr/>
            <p:nvPr/>
          </p:nvSpPr>
          <p:spPr>
            <a:xfrm>
              <a:off x="4098938" y="2673675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27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0" name="Прямоугольник 184"/>
            <p:cNvSpPr/>
            <p:nvPr/>
          </p:nvSpPr>
          <p:spPr>
            <a:xfrm>
              <a:off x="4182513" y="3753064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>
                  <a:solidFill>
                    <a:srgbClr val="0070C0"/>
                  </a:solidFill>
                  <a:latin typeface="Arial"/>
                </a:rPr>
                <a:t>8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1" name="Прямоугольник 184"/>
            <p:cNvSpPr/>
            <p:nvPr/>
          </p:nvSpPr>
          <p:spPr>
            <a:xfrm>
              <a:off x="6323107" y="3881749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4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2" name="Прямоугольник 184"/>
            <p:cNvSpPr/>
            <p:nvPr/>
          </p:nvSpPr>
          <p:spPr>
            <a:xfrm>
              <a:off x="7604967" y="4050812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5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3" name="Прямоугольник 184"/>
            <p:cNvSpPr/>
            <p:nvPr/>
          </p:nvSpPr>
          <p:spPr>
            <a:xfrm>
              <a:off x="1826553" y="3750944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8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4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4" name="Прямоугольник 184"/>
            <p:cNvSpPr/>
            <p:nvPr/>
          </p:nvSpPr>
          <p:spPr>
            <a:xfrm>
              <a:off x="6937025" y="4689168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0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5" name="Прямоугольник 184"/>
            <p:cNvSpPr/>
            <p:nvPr/>
          </p:nvSpPr>
          <p:spPr>
            <a:xfrm>
              <a:off x="2500388" y="3769172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8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6" name="Прямоугольник 184"/>
            <p:cNvSpPr/>
            <p:nvPr/>
          </p:nvSpPr>
          <p:spPr>
            <a:xfrm>
              <a:off x="4659528" y="2914236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3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7" name="Прямоугольник 184"/>
            <p:cNvSpPr/>
            <p:nvPr/>
          </p:nvSpPr>
          <p:spPr>
            <a:xfrm>
              <a:off x="5559545" y="3798031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10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8" name="Прямоугольник 184"/>
            <p:cNvSpPr/>
            <p:nvPr/>
          </p:nvSpPr>
          <p:spPr>
            <a:xfrm>
              <a:off x="8135770" y="3319876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22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19" name="Прямоугольник 184"/>
            <p:cNvSpPr/>
            <p:nvPr/>
          </p:nvSpPr>
          <p:spPr>
            <a:xfrm>
              <a:off x="1916041" y="3021803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4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3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0" name="Прямоугольник 184"/>
            <p:cNvSpPr/>
            <p:nvPr/>
          </p:nvSpPr>
          <p:spPr>
            <a:xfrm>
              <a:off x="5412519" y="4490607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1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6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1" name="Прямоугольник 184"/>
            <p:cNvSpPr/>
            <p:nvPr/>
          </p:nvSpPr>
          <p:spPr>
            <a:xfrm>
              <a:off x="4508579" y="4998215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3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2" name="Прямоугольник 184"/>
            <p:cNvSpPr/>
            <p:nvPr/>
          </p:nvSpPr>
          <p:spPr>
            <a:xfrm>
              <a:off x="6097912" y="3136219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9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3" name="Прямоугольник 184"/>
            <p:cNvSpPr/>
            <p:nvPr/>
          </p:nvSpPr>
          <p:spPr>
            <a:xfrm>
              <a:off x="3404938" y="2430305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5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4" name="Прямоугольник 184"/>
            <p:cNvSpPr/>
            <p:nvPr/>
          </p:nvSpPr>
          <p:spPr>
            <a:xfrm>
              <a:off x="6365691" y="2345594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5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2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5" name="Прямоугольник 184"/>
            <p:cNvSpPr/>
            <p:nvPr/>
          </p:nvSpPr>
          <p:spPr>
            <a:xfrm>
              <a:off x="2878220" y="3162825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46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6" name="Прямоугольник 184"/>
            <p:cNvSpPr/>
            <p:nvPr/>
          </p:nvSpPr>
          <p:spPr>
            <a:xfrm>
              <a:off x="7163189" y="3209460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15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7" name="Прямоугольник 184"/>
            <p:cNvSpPr/>
            <p:nvPr/>
          </p:nvSpPr>
          <p:spPr>
            <a:xfrm>
              <a:off x="5960641" y="4880286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2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1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8" name="Прямоугольник 184"/>
            <p:cNvSpPr/>
            <p:nvPr/>
          </p:nvSpPr>
          <p:spPr>
            <a:xfrm>
              <a:off x="3498555" y="3251320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2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3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29" name="Прямоугольник 184"/>
            <p:cNvSpPr/>
            <p:nvPr/>
          </p:nvSpPr>
          <p:spPr>
            <a:xfrm>
              <a:off x="4909543" y="3475121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1</a:t>
              </a: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3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30" name="Прямоугольник 184"/>
            <p:cNvSpPr/>
            <p:nvPr/>
          </p:nvSpPr>
          <p:spPr>
            <a:xfrm>
              <a:off x="3092385" y="3956870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6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31" name="Прямоугольник 184"/>
            <p:cNvSpPr/>
            <p:nvPr/>
          </p:nvSpPr>
          <p:spPr>
            <a:xfrm>
              <a:off x="5373046" y="2163415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en-US" sz="1400" b="1" kern="0" dirty="0" smtClean="0">
                  <a:solidFill>
                    <a:srgbClr val="0070C0"/>
                  </a:solidFill>
                  <a:latin typeface="Arial"/>
                </a:rPr>
                <a:t>52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  <p:sp>
          <p:nvSpPr>
            <p:cNvPr id="132" name="Прямоугольник 184"/>
            <p:cNvSpPr/>
            <p:nvPr/>
          </p:nvSpPr>
          <p:spPr>
            <a:xfrm>
              <a:off x="5248557" y="2834446"/>
              <a:ext cx="540000" cy="252000"/>
            </a:xfrm>
            <a:prstGeom prst="rect">
              <a:avLst/>
            </a:prstGeom>
            <a:solidFill>
              <a:srgbClr val="FFFF00"/>
            </a:solidFill>
            <a:ln w="25400" cap="flat" cmpd="sng" algn="ctr">
              <a:noFill/>
              <a:prstDash val="solid"/>
            </a:ln>
            <a:effectLst>
              <a:glow>
                <a:srgbClr val="4F81BD">
                  <a:alpha val="40000"/>
                </a:srgbClr>
              </a:glow>
              <a:softEdge rad="25400"/>
            </a:effectLst>
          </p:spPr>
          <p:txBody>
            <a:bodyPr lIns="36000" tIns="36000" rIns="36000" bIns="36000" anchor="ctr"/>
            <a:lstStyle/>
            <a:p>
              <a:pPr algn="ctr">
                <a:defRPr/>
              </a:pPr>
              <a:r>
                <a:rPr lang="uk-UA" sz="1400" b="1" kern="0" dirty="0" smtClean="0">
                  <a:solidFill>
                    <a:srgbClr val="0070C0"/>
                  </a:solidFill>
                  <a:latin typeface="Arial"/>
                </a:rPr>
                <a:t>0</a:t>
              </a:r>
              <a:endParaRPr lang="ru-RU" sz="1400" b="1" kern="0" dirty="0">
                <a:solidFill>
                  <a:srgbClr val="0070C0"/>
                </a:solidFill>
                <a:latin typeface="Arial"/>
              </a:endParaRPr>
            </a:p>
          </p:txBody>
        </p:sp>
      </p:grpSp>
      <p:sp>
        <p:nvSpPr>
          <p:cNvPr id="133" name="Rectangle 3"/>
          <p:cNvSpPr txBox="1">
            <a:spLocks noChangeArrowheads="1"/>
          </p:cNvSpPr>
          <p:nvPr/>
        </p:nvSpPr>
        <p:spPr>
          <a:xfrm>
            <a:off x="979793" y="319406"/>
            <a:ext cx="7376584" cy="1309394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endParaRPr lang="ru-RU" altLang="ru-RU" sz="1400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135" name="Прямоугольник 193"/>
          <p:cNvSpPr/>
          <p:nvPr/>
        </p:nvSpPr>
        <p:spPr>
          <a:xfrm>
            <a:off x="7745326" y="1585732"/>
            <a:ext cx="1222101" cy="1458461"/>
          </a:xfrm>
          <a:prstGeom prst="rect">
            <a:avLst/>
          </a:prstGeom>
          <a:solidFill>
            <a:srgbClr val="1D89C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uk-UA" sz="1600" b="1" dirty="0">
                <a:solidFill>
                  <a:prstClr val="white"/>
                </a:solidFill>
              </a:rPr>
              <a:t>Всього проектів</a:t>
            </a:r>
          </a:p>
          <a:p>
            <a:pPr algn="ctr">
              <a:defRPr/>
            </a:pPr>
            <a:r>
              <a:rPr lang="ru-RU" sz="3200" b="1" dirty="0" smtClean="0">
                <a:solidFill>
                  <a:prstClr val="white"/>
                </a:solidFill>
              </a:rPr>
              <a:t>810</a:t>
            </a:r>
            <a:endParaRPr lang="ru-RU" sz="3200" b="1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uk-UA" sz="800" i="1" dirty="0">
                <a:solidFill>
                  <a:prstClr val="white"/>
                </a:solidFill>
              </a:rPr>
              <a:t>в </a:t>
            </a:r>
            <a:r>
              <a:rPr lang="uk-UA" sz="800" i="1" dirty="0" err="1">
                <a:solidFill>
                  <a:prstClr val="white"/>
                </a:solidFill>
              </a:rPr>
              <a:t>т.ч</a:t>
            </a:r>
            <a:r>
              <a:rPr lang="uk-UA" sz="800" i="1" dirty="0">
                <a:solidFill>
                  <a:prstClr val="white"/>
                </a:solidFill>
              </a:rPr>
              <a:t>. погашення кредиторської </a:t>
            </a:r>
          </a:p>
          <a:p>
            <a:pPr algn="ctr">
              <a:defRPr/>
            </a:pPr>
            <a:r>
              <a:rPr lang="uk-UA" sz="800" i="1" dirty="0">
                <a:solidFill>
                  <a:prstClr val="white"/>
                </a:solidFill>
              </a:rPr>
              <a:t>заборгованості – </a:t>
            </a:r>
          </a:p>
          <a:p>
            <a:pPr algn="ctr">
              <a:defRPr/>
            </a:pPr>
            <a:r>
              <a:rPr lang="uk-UA" sz="1000" b="1" i="1" dirty="0">
                <a:solidFill>
                  <a:prstClr val="white"/>
                </a:solidFill>
              </a:rPr>
              <a:t>8</a:t>
            </a:r>
            <a:r>
              <a:rPr lang="uk-UA" sz="1000" b="1" i="1" dirty="0" smtClean="0">
                <a:solidFill>
                  <a:prstClr val="white"/>
                </a:solidFill>
              </a:rPr>
              <a:t> </a:t>
            </a:r>
            <a:r>
              <a:rPr lang="uk-UA" sz="800" b="1" i="1" dirty="0" smtClean="0">
                <a:solidFill>
                  <a:prstClr val="white"/>
                </a:solidFill>
              </a:rPr>
              <a:t>проектів</a:t>
            </a:r>
            <a:endParaRPr lang="uk-UA" sz="800" b="1" i="1" dirty="0">
              <a:solidFill>
                <a:prstClr val="white"/>
              </a:solidFill>
            </a:endParaRPr>
          </a:p>
        </p:txBody>
      </p:sp>
      <p:sp>
        <p:nvSpPr>
          <p:cNvPr id="136" name="Прямоугольник 193"/>
          <p:cNvSpPr/>
          <p:nvPr/>
        </p:nvSpPr>
        <p:spPr>
          <a:xfrm>
            <a:off x="7493858" y="4952555"/>
            <a:ext cx="1550170" cy="1829499"/>
          </a:xfrm>
          <a:prstGeom prst="rect">
            <a:avLst/>
          </a:prstGeom>
          <a:solidFill>
            <a:srgbClr val="FFFF0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uk-UA" sz="1600" b="1" dirty="0">
                <a:solidFill>
                  <a:srgbClr val="1D89CB"/>
                </a:solidFill>
              </a:rPr>
              <a:t>Здані у </a:t>
            </a:r>
            <a:r>
              <a:rPr lang="uk-UA" sz="1600" b="1" dirty="0" smtClean="0">
                <a:solidFill>
                  <a:srgbClr val="1D89CB"/>
                </a:solidFill>
              </a:rPr>
              <a:t>2016 </a:t>
            </a:r>
            <a:r>
              <a:rPr lang="uk-UA" sz="1600" b="1" dirty="0">
                <a:solidFill>
                  <a:srgbClr val="1D89CB"/>
                </a:solidFill>
              </a:rPr>
              <a:t>році</a:t>
            </a:r>
          </a:p>
          <a:p>
            <a:pPr algn="ctr">
              <a:defRPr/>
            </a:pPr>
            <a:r>
              <a:rPr lang="en-US" sz="2800" b="1" dirty="0" smtClean="0">
                <a:solidFill>
                  <a:srgbClr val="1D89CB"/>
                </a:solidFill>
              </a:rPr>
              <a:t>502</a:t>
            </a:r>
            <a:endParaRPr lang="uk-UA" sz="2800" b="1" dirty="0">
              <a:solidFill>
                <a:srgbClr val="1D89CB"/>
              </a:solidFill>
            </a:endParaRPr>
          </a:p>
          <a:p>
            <a:pPr algn="ctr">
              <a:defRPr/>
            </a:pPr>
            <a:r>
              <a:rPr lang="uk-UA" sz="900" i="1" dirty="0" smtClean="0">
                <a:solidFill>
                  <a:srgbClr val="1D89CB"/>
                </a:solidFill>
              </a:rPr>
              <a:t>Завершення </a:t>
            </a:r>
          </a:p>
          <a:p>
            <a:pPr algn="ctr">
              <a:defRPr/>
            </a:pPr>
            <a:r>
              <a:rPr lang="ru-RU" sz="900" i="1" dirty="0" smtClean="0">
                <a:solidFill>
                  <a:srgbClr val="1D89CB"/>
                </a:solidFill>
              </a:rPr>
              <a:t>проектів </a:t>
            </a:r>
            <a:endParaRPr lang="ru-RU" sz="900" i="1" dirty="0">
              <a:solidFill>
                <a:srgbClr val="1D89CB"/>
              </a:solidFill>
            </a:endParaRPr>
          </a:p>
          <a:p>
            <a:pPr algn="ctr">
              <a:defRPr/>
            </a:pPr>
            <a:r>
              <a:rPr lang="ru-RU" sz="2800" b="1" dirty="0" smtClean="0">
                <a:solidFill>
                  <a:srgbClr val="1D89CB"/>
                </a:solidFill>
              </a:rPr>
              <a:t>6</a:t>
            </a:r>
            <a:r>
              <a:rPr lang="en-US" sz="2800" b="1" dirty="0" smtClean="0">
                <a:solidFill>
                  <a:srgbClr val="1D89CB"/>
                </a:solidFill>
              </a:rPr>
              <a:t>2</a:t>
            </a:r>
            <a:r>
              <a:rPr lang="ru-RU" sz="2800" b="1" dirty="0" smtClean="0">
                <a:solidFill>
                  <a:srgbClr val="1D89CB"/>
                </a:solidFill>
              </a:rPr>
              <a:t>%</a:t>
            </a:r>
            <a:endParaRPr lang="ru-RU" sz="2800" b="1" dirty="0">
              <a:solidFill>
                <a:srgbClr val="1D89CB"/>
              </a:solidFill>
            </a:endParaRPr>
          </a:p>
          <a:p>
            <a:pPr algn="ctr">
              <a:defRPr/>
            </a:pPr>
            <a:r>
              <a:rPr lang="uk-UA" sz="800" i="1" dirty="0" smtClean="0">
                <a:solidFill>
                  <a:srgbClr val="1D89CB"/>
                </a:solidFill>
              </a:rPr>
              <a:t>(</a:t>
            </a:r>
            <a:r>
              <a:rPr lang="uk-UA" sz="800" i="1" dirty="0">
                <a:solidFill>
                  <a:srgbClr val="1D89CB"/>
                </a:solidFill>
              </a:rPr>
              <a:t>решта проектів буде завершена у </a:t>
            </a:r>
            <a:r>
              <a:rPr lang="uk-UA" sz="800" i="1" dirty="0" smtClean="0">
                <a:solidFill>
                  <a:srgbClr val="1D89CB"/>
                </a:solidFill>
              </a:rPr>
              <a:t>201</a:t>
            </a:r>
            <a:r>
              <a:rPr lang="en-US" sz="800" i="1" dirty="0" smtClean="0">
                <a:solidFill>
                  <a:srgbClr val="1D89CB"/>
                </a:solidFill>
              </a:rPr>
              <a:t>7</a:t>
            </a:r>
            <a:r>
              <a:rPr lang="uk-UA" sz="800" i="1" dirty="0" smtClean="0">
                <a:solidFill>
                  <a:srgbClr val="1D89CB"/>
                </a:solidFill>
              </a:rPr>
              <a:t>-201</a:t>
            </a:r>
            <a:r>
              <a:rPr lang="en-US" sz="800" i="1" dirty="0" smtClean="0">
                <a:solidFill>
                  <a:srgbClr val="1D89CB"/>
                </a:solidFill>
              </a:rPr>
              <a:t>8</a:t>
            </a:r>
            <a:r>
              <a:rPr lang="uk-UA" sz="800" i="1" dirty="0" smtClean="0">
                <a:solidFill>
                  <a:srgbClr val="1D89CB"/>
                </a:solidFill>
              </a:rPr>
              <a:t> </a:t>
            </a:r>
            <a:r>
              <a:rPr lang="uk-UA" sz="800" i="1" dirty="0" err="1">
                <a:solidFill>
                  <a:srgbClr val="1D89CB"/>
                </a:solidFill>
              </a:rPr>
              <a:t>рр</a:t>
            </a:r>
            <a:r>
              <a:rPr lang="ru-RU" sz="800" b="1" dirty="0">
                <a:solidFill>
                  <a:srgbClr val="1D89CB"/>
                </a:solidFill>
              </a:rPr>
              <a:t>)</a:t>
            </a:r>
            <a:endParaRPr lang="uk-UA" sz="800" i="1" dirty="0">
              <a:solidFill>
                <a:srgbClr val="1D89CB"/>
              </a:solidFill>
            </a:endParaRPr>
          </a:p>
        </p:txBody>
      </p:sp>
      <p:graphicFrame>
        <p:nvGraphicFramePr>
          <p:cNvPr id="138" name="Table 1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8938192"/>
              </p:ext>
            </p:extLst>
          </p:nvPr>
        </p:nvGraphicFramePr>
        <p:xfrm>
          <a:off x="352283" y="4946085"/>
          <a:ext cx="2568184" cy="1374247"/>
        </p:xfrm>
        <a:graphic>
          <a:graphicData uri="http://schemas.openxmlformats.org/drawingml/2006/table">
            <a:tbl>
              <a:tblPr firstRow="1" bandRow="1"/>
              <a:tblGrid>
                <a:gridCol w="677358"/>
                <a:gridCol w="1890826"/>
              </a:tblGrid>
              <a:tr h="4404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uk-UA" sz="1000" b="1" noProof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РОФІНАНСОВАНО ПРОЕКТІВ</a:t>
                      </a:r>
                      <a:endParaRPr lang="uk-UA" sz="1000" kern="1200" noProof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19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uk-UA" sz="1000" b="1" noProof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ЗАВЕРШЕНО ПРОЕКТІВ</a:t>
                      </a:r>
                      <a:endParaRPr lang="uk-UA" sz="1000" kern="1200" noProof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719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uk-UA" sz="1000" b="1" noProof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altLang="ru-RU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ИМЧАСОВО</a:t>
                      </a:r>
                      <a:r>
                        <a:rPr lang="en-US" altLang="ru-RU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altLang="ru-RU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ОКУПОВАНА</a:t>
                      </a:r>
                      <a:r>
                        <a:rPr lang="en-US" altLang="ru-RU" sz="1000" kern="1200" baseline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ru-RU" altLang="ru-RU" sz="1000" kern="120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ТЕРИТОРІЯ</a:t>
                      </a: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9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3991088" y="6250163"/>
            <a:ext cx="1161826" cy="365125"/>
          </a:xfrm>
        </p:spPr>
        <p:txBody>
          <a:bodyPr/>
          <a:lstStyle/>
          <a:p>
            <a:fld id="{9B4EB238-E5C8-4806-8CFE-7B153C4DC58A}" type="slidenum">
              <a:rPr lang="uk-UA" smtClean="0">
                <a:solidFill>
                  <a:schemeClr val="tx1"/>
                </a:solidFill>
              </a:rPr>
              <a:pPr/>
              <a:t>14</a:t>
            </a:fld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137" name="Rectangle 3"/>
          <p:cNvSpPr txBox="1">
            <a:spLocks noChangeArrowheads="1"/>
          </p:cNvSpPr>
          <p:nvPr/>
        </p:nvSpPr>
        <p:spPr>
          <a:xfrm>
            <a:off x="878257" y="260648"/>
            <a:ext cx="7882731" cy="844036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ІНФОРМАЦІЯ </a:t>
            </a:r>
            <a:r>
              <a:rPr lang="ru-RU" altLang="ru-RU" sz="2400" dirty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ЩОДО РЕАЛІЗАЦІЇ ПРОЕКТІВ ЗА РАХУНОК КОШТІВ ДФРР РЕГІОНАМИ У 2016 РОЦІ</a:t>
            </a:r>
          </a:p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(станом на 01.01.2017)</a:t>
            </a:r>
          </a:p>
        </p:txBody>
      </p:sp>
      <p:pic>
        <p:nvPicPr>
          <p:cNvPr id="140" name="Изображение 1" descr="minregion_logo_concept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433734"/>
            <a:ext cx="623914" cy="831885"/>
          </a:xfrm>
          <a:prstGeom prst="rect">
            <a:avLst/>
          </a:prstGeom>
        </p:spPr>
      </p:pic>
      <p:sp>
        <p:nvSpPr>
          <p:cNvPr id="141" name="Прямоугольник 2"/>
          <p:cNvSpPr/>
          <p:nvPr/>
        </p:nvSpPr>
        <p:spPr>
          <a:xfrm flipV="1">
            <a:off x="390611" y="1295048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07528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-304790" y="1143026"/>
            <a:ext cx="116254" cy="237104"/>
          </a:xfrm>
          <a:prstGeom prst="rect">
            <a:avLst/>
          </a:prstGeom>
          <a:noFill/>
        </p:spPr>
        <p:txBody>
          <a:bodyPr wrap="none" lIns="57533" tIns="28791" rIns="57533" bIns="28791" rtlCol="0">
            <a:spAutoFit/>
          </a:bodyPr>
          <a:lstStyle/>
          <a:p>
            <a:pPr defTabSz="575321"/>
            <a:endParaRPr lang="uk-UA" sz="1163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676456" y="6492875"/>
            <a:ext cx="345182" cy="365125"/>
          </a:xfrm>
        </p:spPr>
        <p:txBody>
          <a:bodyPr/>
          <a:lstStyle/>
          <a:p>
            <a:fld id="{9B4EB238-E5C8-4806-8CFE-7B153C4DC58A}" type="slidenum">
              <a:rPr lang="uk-UA" smtClean="0">
                <a:solidFill>
                  <a:schemeClr val="tx1"/>
                </a:solidFill>
              </a:rPr>
              <a:pPr/>
              <a:t>15</a:t>
            </a:fld>
            <a:endParaRPr lang="uk-UA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93"/>
          <p:cNvSpPr/>
          <p:nvPr/>
        </p:nvSpPr>
        <p:spPr>
          <a:xfrm>
            <a:off x="390611" y="1196752"/>
            <a:ext cx="1733117" cy="1328625"/>
          </a:xfrm>
          <a:prstGeom prst="rect">
            <a:avLst/>
          </a:prstGeom>
          <a:solidFill>
            <a:srgbClr val="1389C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uk-UA" sz="1600" b="1" dirty="0" smtClean="0">
                <a:solidFill>
                  <a:prstClr val="white"/>
                </a:solidFill>
              </a:rPr>
              <a:t>Обсяг ДФРР</a:t>
            </a:r>
          </a:p>
          <a:p>
            <a:pPr algn="ctr">
              <a:defRPr/>
            </a:pPr>
            <a:r>
              <a:rPr lang="ru-RU" sz="3200" b="1" dirty="0" smtClean="0">
                <a:solidFill>
                  <a:prstClr val="white"/>
                </a:solidFill>
              </a:rPr>
              <a:t>3 000  </a:t>
            </a:r>
            <a:endParaRPr lang="ru-RU" sz="3200" b="1" dirty="0">
              <a:solidFill>
                <a:prstClr val="white"/>
              </a:solidFill>
            </a:endParaRPr>
          </a:p>
          <a:p>
            <a:pPr algn="ctr">
              <a:defRPr/>
            </a:pPr>
            <a:r>
              <a:rPr lang="ru-RU" sz="1200" b="1" dirty="0" smtClean="0">
                <a:solidFill>
                  <a:prstClr val="white"/>
                </a:solidFill>
              </a:rPr>
              <a:t>млн.</a:t>
            </a:r>
            <a:r>
              <a:rPr lang="uk-UA" sz="1200" b="1" dirty="0" smtClean="0">
                <a:solidFill>
                  <a:prstClr val="white"/>
                </a:solidFill>
              </a:rPr>
              <a:t> </a:t>
            </a:r>
            <a:r>
              <a:rPr lang="uk-UA" sz="1200" b="1" dirty="0">
                <a:solidFill>
                  <a:prstClr val="white"/>
                </a:solidFill>
              </a:rPr>
              <a:t>грн.</a:t>
            </a:r>
            <a:endParaRPr lang="ru-RU" sz="1200" b="1" dirty="0">
              <a:solidFill>
                <a:prstClr val="white"/>
              </a:solidFill>
            </a:endParaRPr>
          </a:p>
        </p:txBody>
      </p:sp>
      <p:sp>
        <p:nvSpPr>
          <p:cNvPr id="18" name="Прямоугольник 193"/>
          <p:cNvSpPr/>
          <p:nvPr/>
        </p:nvSpPr>
        <p:spPr>
          <a:xfrm>
            <a:off x="2622859" y="1196752"/>
            <a:ext cx="1733117" cy="1328625"/>
          </a:xfrm>
          <a:prstGeom prst="rect">
            <a:avLst/>
          </a:prstGeom>
          <a:solidFill>
            <a:srgbClr val="B9D6F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uk-UA" sz="1600" b="1" dirty="0" err="1" smtClean="0">
                <a:solidFill>
                  <a:schemeClr val="tx1"/>
                </a:solidFill>
              </a:rPr>
              <a:t>Розподілено</a:t>
            </a:r>
            <a:endParaRPr lang="uk-UA" sz="1600" b="1" dirty="0" smtClean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3200" b="1" dirty="0" smtClean="0">
                <a:solidFill>
                  <a:schemeClr val="tx1"/>
                </a:solidFill>
              </a:rPr>
              <a:t>3 000</a:t>
            </a:r>
            <a:endParaRPr lang="ru-RU" sz="3200" b="1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млн.</a:t>
            </a:r>
            <a:r>
              <a:rPr lang="uk-UA" sz="1200" b="1" dirty="0" smtClean="0">
                <a:solidFill>
                  <a:schemeClr val="tx1"/>
                </a:solidFill>
              </a:rPr>
              <a:t> </a:t>
            </a:r>
            <a:r>
              <a:rPr lang="uk-UA" sz="1200" b="1" dirty="0">
                <a:solidFill>
                  <a:schemeClr val="tx1"/>
                </a:solidFill>
              </a:rPr>
              <a:t>грн.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9" name="Прямоугольник 193"/>
          <p:cNvSpPr/>
          <p:nvPr/>
        </p:nvSpPr>
        <p:spPr>
          <a:xfrm>
            <a:off x="4783099" y="1196752"/>
            <a:ext cx="1733117" cy="1328625"/>
          </a:xfrm>
          <a:prstGeom prst="rect">
            <a:avLst/>
          </a:prstGeom>
          <a:solidFill>
            <a:srgbClr val="1389C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uk-UA" sz="1600" b="1" dirty="0" smtClean="0">
                <a:solidFill>
                  <a:schemeClr val="bg1"/>
                </a:solidFill>
              </a:rPr>
              <a:t>Всього проектів</a:t>
            </a:r>
          </a:p>
          <a:p>
            <a:pPr algn="ctr">
              <a:defRPr/>
            </a:pPr>
            <a:r>
              <a:rPr lang="ru-RU" sz="3200" b="1" dirty="0" smtClean="0">
                <a:solidFill>
                  <a:schemeClr val="bg1"/>
                </a:solidFill>
              </a:rPr>
              <a:t>810</a:t>
            </a:r>
          </a:p>
          <a:p>
            <a:pPr algn="ctr">
              <a:defRPr/>
            </a:pPr>
            <a:r>
              <a:rPr lang="uk-UA" sz="800" b="1" i="1" dirty="0" smtClean="0">
                <a:solidFill>
                  <a:schemeClr val="bg1"/>
                </a:solidFill>
              </a:rPr>
              <a:t>У </a:t>
            </a:r>
            <a:r>
              <a:rPr lang="uk-UA" sz="800" b="1" i="1" dirty="0" err="1" smtClean="0">
                <a:solidFill>
                  <a:schemeClr val="bg1"/>
                </a:solidFill>
              </a:rPr>
              <a:t>т.ч</a:t>
            </a:r>
            <a:r>
              <a:rPr lang="uk-UA" sz="800" b="1" i="1" dirty="0" smtClean="0">
                <a:solidFill>
                  <a:schemeClr val="bg1"/>
                </a:solidFill>
              </a:rPr>
              <a:t>. 8 проектів </a:t>
            </a:r>
          </a:p>
          <a:p>
            <a:pPr algn="ctr">
              <a:defRPr/>
            </a:pPr>
            <a:r>
              <a:rPr lang="uk-UA" sz="800" b="1" i="1" dirty="0" smtClean="0">
                <a:solidFill>
                  <a:schemeClr val="bg1"/>
                </a:solidFill>
              </a:rPr>
              <a:t>погашення кредиторської заборгованості</a:t>
            </a:r>
            <a:endParaRPr lang="ru-RU" sz="800" b="1" i="1" dirty="0">
              <a:solidFill>
                <a:schemeClr val="bg1"/>
              </a:solidFill>
            </a:endParaRPr>
          </a:p>
        </p:txBody>
      </p:sp>
      <p:sp>
        <p:nvSpPr>
          <p:cNvPr id="20" name="Прямоугольник 193"/>
          <p:cNvSpPr/>
          <p:nvPr/>
        </p:nvSpPr>
        <p:spPr>
          <a:xfrm>
            <a:off x="7015347" y="1196752"/>
            <a:ext cx="1733117" cy="1328625"/>
          </a:xfrm>
          <a:prstGeom prst="rect">
            <a:avLst/>
          </a:prstGeom>
          <a:solidFill>
            <a:srgbClr val="B9D6FB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anchor="ctr"/>
          <a:lstStyle/>
          <a:p>
            <a:pPr algn="ctr">
              <a:defRPr/>
            </a:pPr>
            <a:r>
              <a:rPr lang="uk-UA" sz="1600" b="1" dirty="0" smtClean="0">
                <a:solidFill>
                  <a:schemeClr val="tx1"/>
                </a:solidFill>
              </a:rPr>
              <a:t>Касові видатки</a:t>
            </a:r>
          </a:p>
          <a:p>
            <a:pPr algn="ctr">
              <a:defRPr/>
            </a:pPr>
            <a:r>
              <a:rPr lang="ru-RU" sz="3200" b="1" dirty="0" smtClean="0">
                <a:solidFill>
                  <a:schemeClr val="tx1"/>
                </a:solidFill>
              </a:rPr>
              <a:t>2 695</a:t>
            </a:r>
            <a:endParaRPr lang="ru-RU" sz="3200" b="1" dirty="0">
              <a:solidFill>
                <a:schemeClr val="tx1"/>
              </a:solidFill>
            </a:endParaRPr>
          </a:p>
          <a:p>
            <a:pPr algn="ctr"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млн.</a:t>
            </a:r>
            <a:r>
              <a:rPr lang="uk-UA" sz="1200" b="1" dirty="0" smtClean="0">
                <a:solidFill>
                  <a:schemeClr val="tx1"/>
                </a:solidFill>
              </a:rPr>
              <a:t> </a:t>
            </a:r>
            <a:r>
              <a:rPr lang="uk-UA" sz="1200" b="1" dirty="0">
                <a:solidFill>
                  <a:schemeClr val="tx1"/>
                </a:solidFill>
              </a:rPr>
              <a:t>грн.</a:t>
            </a:r>
            <a:endParaRPr lang="ru-RU" sz="1200" b="1" dirty="0">
              <a:solidFill>
                <a:schemeClr val="tx1"/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878257" y="352356"/>
            <a:ext cx="7882731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ДФРР – ФІНАНСОВИЙ ІНСТРУМЕНТ РЕГІОНАЛЬНОГО РОЗВИТКУ У 201</a:t>
            </a:r>
            <a:r>
              <a:rPr lang="en-US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6</a:t>
            </a: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 РОЦІ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5" name="Изображение 1" descr="minregion_logo_concep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17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1" name="Діаграма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7270296"/>
              </p:ext>
            </p:extLst>
          </p:nvPr>
        </p:nvGraphicFramePr>
        <p:xfrm>
          <a:off x="111303" y="2539424"/>
          <a:ext cx="8928992" cy="4129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5649657" y="6453336"/>
            <a:ext cx="12961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uk-UA" sz="1200" dirty="0" smtClean="0"/>
              <a:t>По обсягу коштів</a:t>
            </a:r>
            <a:endParaRPr lang="uk-UA" sz="1200" dirty="0"/>
          </a:p>
        </p:txBody>
      </p:sp>
    </p:spTree>
    <p:extLst>
      <p:ext uri="{BB962C8B-B14F-4D97-AF65-F5344CB8AC3E}">
        <p14:creationId xmlns:p14="http://schemas.microsoft.com/office/powerpoint/2010/main" val="31760307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16</a:t>
            </a:fld>
            <a:endParaRPr lang="uk-UA" dirty="0"/>
          </a:p>
        </p:txBody>
      </p:sp>
      <p:graphicFrame>
        <p:nvGraphicFramePr>
          <p:cNvPr id="5" name="Таблиця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6340443"/>
              </p:ext>
            </p:extLst>
          </p:nvPr>
        </p:nvGraphicFramePr>
        <p:xfrm>
          <a:off x="107501" y="1127877"/>
          <a:ext cx="8856987" cy="533088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04874"/>
                <a:gridCol w="929296"/>
                <a:gridCol w="943777"/>
                <a:gridCol w="798581"/>
                <a:gridCol w="871179"/>
                <a:gridCol w="871179"/>
                <a:gridCol w="798581"/>
                <a:gridCol w="871179"/>
                <a:gridCol w="798581"/>
                <a:gridCol w="798581"/>
                <a:gridCol w="871179"/>
              </a:tblGrid>
              <a:tr h="195650">
                <a:tc gridSpan="1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22068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№з/п</a:t>
                      </a:r>
                      <a:endParaRPr lang="uk-UA" sz="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uk-UA" sz="900" u="none" strike="noStrike">
                          <a:effectLst/>
                        </a:rPr>
                        <a:t>Регіон</a:t>
                      </a:r>
                      <a:endParaRPr lang="uk-UA" sz="9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uk-UA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2</a:t>
                      </a:r>
                      <a:r>
                        <a:rPr lang="uk-UA" sz="10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,5 </a:t>
                      </a:r>
                      <a:r>
                        <a:rPr lang="uk-UA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млрд. грн. (спецфонд)</a:t>
                      </a:r>
                      <a:endParaRPr lang="uk-UA" sz="10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uk-UA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1 млрд. грн. (</a:t>
                      </a:r>
                      <a:r>
                        <a:rPr lang="uk-UA" sz="1000" b="1" u="none" strike="noStrike" dirty="0" err="1">
                          <a:solidFill>
                            <a:srgbClr val="FF0000"/>
                          </a:solidFill>
                          <a:effectLst/>
                        </a:rPr>
                        <a:t>загалфонд</a:t>
                      </a:r>
                      <a:r>
                        <a:rPr lang="uk-UA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)</a:t>
                      </a:r>
                      <a:endParaRPr lang="uk-UA" sz="10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uk-UA" sz="10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3,5 </a:t>
                      </a:r>
                      <a:r>
                        <a:rPr lang="uk-UA" sz="10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млрд. грн.</a:t>
                      </a:r>
                      <a:endParaRPr lang="uk-UA" sz="10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</a:tr>
              <a:tr h="254638"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uk-U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effectLst/>
                        </a:rPr>
                        <a:t>80%</a:t>
                      </a:r>
                      <a:endParaRPr lang="uk-UA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effectLst/>
                        </a:rPr>
                        <a:t>20%</a:t>
                      </a:r>
                      <a:endParaRPr lang="uk-UA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effectLst/>
                        </a:rPr>
                        <a:t>Разом</a:t>
                      </a:r>
                      <a:endParaRPr lang="uk-UA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effectLst/>
                        </a:rPr>
                        <a:t>80%</a:t>
                      </a:r>
                      <a:endParaRPr lang="uk-UA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effectLst/>
                        </a:rPr>
                        <a:t>20%</a:t>
                      </a:r>
                      <a:endParaRPr lang="uk-UA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effectLst/>
                        </a:rPr>
                        <a:t>Разом</a:t>
                      </a:r>
                      <a:endParaRPr lang="uk-UA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effectLst/>
                        </a:rPr>
                        <a:t>80%</a:t>
                      </a:r>
                      <a:endParaRPr lang="uk-UA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effectLst/>
                        </a:rPr>
                        <a:t>20%</a:t>
                      </a:r>
                      <a:endParaRPr lang="uk-UA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effectLst/>
                        </a:rPr>
                        <a:t>Разом</a:t>
                      </a:r>
                      <a:endParaRPr lang="uk-UA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Вінниц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4 788,960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8 774,660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3 563,620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9 915,584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 509,864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9 425,448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4 704,5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 284,5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2 989,068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Волин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8 909,377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 896,93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 806,308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 563,751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 758,772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322,523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 473,12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4 655,7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3 128,831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3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 smtClean="0">
                          <a:effectLst/>
                        </a:rPr>
                        <a:t>Дніпропетровська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1 877,497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1 877,497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 750,999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 750,999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2 628,4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2 628,496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solidFill>
                            <a:schemeClr val="bg1"/>
                          </a:solidFill>
                          <a:effectLst/>
                        </a:rPr>
                        <a:t>4</a:t>
                      </a:r>
                      <a:endParaRPr lang="uk-UA" sz="8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>
                          <a:effectLst/>
                        </a:rPr>
                        <a:t>Донецька обл.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 383,825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9 383,825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9 753,53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9 753,53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9 137,35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9 137,355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solidFill>
                            <a:schemeClr val="bg1"/>
                          </a:solidFill>
                          <a:effectLst/>
                        </a:rPr>
                        <a:t>5</a:t>
                      </a:r>
                      <a:endParaRPr lang="uk-UA" sz="8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>
                          <a:effectLst/>
                        </a:rPr>
                        <a:t>Житомирська обл.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8 352,50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 055,395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6 407,896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 341,00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 222,158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 563,158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 693,5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3 277,55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4 971,054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solidFill>
                            <a:schemeClr val="bg1"/>
                          </a:solidFill>
                          <a:effectLst/>
                        </a:rPr>
                        <a:t>6</a:t>
                      </a:r>
                      <a:endParaRPr lang="uk-UA" sz="8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>
                          <a:effectLst/>
                        </a:rPr>
                        <a:t>Закарпатська обл.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9 111,487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 550,379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7 661,866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 644,595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 420,151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9 064,746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2 756,0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3 970,53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6 726,612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solidFill>
                            <a:schemeClr val="bg1"/>
                          </a:solidFill>
                          <a:effectLst/>
                        </a:rPr>
                        <a:t>7</a:t>
                      </a:r>
                      <a:endParaRPr lang="uk-UA" sz="8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>
                          <a:effectLst/>
                        </a:rPr>
                        <a:t>Запорізька обл.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 786,706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 786,706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714,683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714,683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4 501,38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4 501,389</a:t>
                      </a:r>
                    </a:p>
                  </a:txBody>
                  <a:tcPr marL="9525" marR="9525" marT="9525" marB="0" anchor="b"/>
                </a:tc>
              </a:tr>
              <a:tr h="195224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8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uk-UA" sz="900" u="none" strike="noStrike" dirty="0" smtClean="0">
                          <a:effectLst/>
                        </a:rPr>
                        <a:t>Івано-Франк. </a:t>
                      </a:r>
                      <a:r>
                        <a:rPr lang="uk-UA" sz="900" u="none" strike="noStrike" dirty="0">
                          <a:effectLst/>
                        </a:rPr>
                        <a:t>обл.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4 773,382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 242,862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7 016,244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5 909,353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 897,145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 806,498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 682,7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9 140,0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9 822,742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>
                          <a:solidFill>
                            <a:schemeClr val="bg1"/>
                          </a:solidFill>
                          <a:effectLst/>
                        </a:rPr>
                        <a:t>9</a:t>
                      </a:r>
                      <a:endParaRPr lang="uk-UA" sz="800" b="0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Київ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 380,653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 380,653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552,261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552,261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3 932,9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3 932,914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0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>
                          <a:effectLst/>
                        </a:rPr>
                        <a:t>Кіровоградська </a:t>
                      </a:r>
                      <a:r>
                        <a:rPr lang="uk-UA" sz="900" u="none" strike="noStrike" dirty="0" smtClean="0">
                          <a:effectLst/>
                        </a:rPr>
                        <a:t>.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 427,867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 427,867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 171,147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8 171,147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 599,01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3 599,014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1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>
                          <a:effectLst/>
                        </a:rPr>
                        <a:t>Луганська обл.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03 130,25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7 257,827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0 388,078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1 252,10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 903,131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 155,231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4 382,35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4 160,9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8 543,309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2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>
                          <a:effectLst/>
                        </a:rPr>
                        <a:t>Львівська обл.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8 972,34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8 972,34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 588,936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 588,936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6 561,27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66 561,277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3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>
                          <a:effectLst/>
                        </a:rPr>
                        <a:t>Миколаївська 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 066,392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 066,392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 626,557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 626,557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5 692,94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5 692,949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4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Оде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2 027,434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2 027,434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4 810,973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4 810,973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6 838,40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6 838,407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5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Полтав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7 063,809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7 063,809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 825,524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6 825,524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3 889,3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3 889,333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6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Рівнен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 519,23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5 555,475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0 074,706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1 807,692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4 222,19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6 029,882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6 326,92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9 777,66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6 104,588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7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Сум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1 918,809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3 859,573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5 778,382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 767,524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 543,829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4 311,353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2 686,3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7 403,4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0 089,735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8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 dirty="0" smtClean="0">
                          <a:effectLst/>
                        </a:rPr>
                        <a:t>Тернопільська</a:t>
                      </a:r>
                      <a:endParaRPr lang="uk-UA" sz="9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9 804,074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480,420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2 284,494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 921,63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 992,168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913,798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9 725,7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 472,5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5 198,292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19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Харків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6 934,376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6 934,376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 773,75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 773,75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7 708,1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7 708,126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0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Херсон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9 611,91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355,098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 967,009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 844,764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 942,039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786,803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9 456,6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5 297,1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4 753,812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1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Хмельниц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0 445,602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9 420,440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9 866,042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4 178,241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5 768,176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9 946,417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4 623,8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5 188,61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9 812,459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2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Черка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 953,768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7 953,768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 181,507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3 181,507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 135,27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1 135,275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3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Чернівец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2 652,175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7 816,209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 468,384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7 060,87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 126,484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8 187,354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9 713,0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8 942,6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98 655,738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4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Чернігівська обл.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8 660,668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1 734,731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 395,399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 464,267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2 693,893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2 158,160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68 124,93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44 428,62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12 553,559</a:t>
                      </a:r>
                    </a:p>
                  </a:txBody>
                  <a:tcPr marL="9525" marR="9525" marT="9525" marB="0" anchor="b"/>
                </a:tc>
              </a:tr>
              <a:tr h="178248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25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uk-UA" sz="900" u="none" strike="noStrike">
                          <a:effectLst/>
                        </a:rPr>
                        <a:t>м. Київ </a:t>
                      </a:r>
                      <a:endParaRPr lang="uk-UA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6 446,904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36 446,904</a:t>
                      </a:r>
                    </a:p>
                  </a:txBody>
                  <a:tcPr marL="9525" marR="9525" marT="9525" marB="0" anchor="ctr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 578,762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4 578,762</a:t>
                      </a:r>
                    </a:p>
                  </a:txBody>
                  <a:tcPr marL="9525" marR="9525" marT="9525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 025,6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91 025,666</a:t>
                      </a:r>
                    </a:p>
                  </a:txBody>
                  <a:tcPr marL="9525" marR="9525" marT="9525" marB="0" anchor="b"/>
                </a:tc>
              </a:tr>
              <a:tr h="186735">
                <a:tc>
                  <a:txBody>
                    <a:bodyPr/>
                    <a:lstStyle/>
                    <a:p>
                      <a:pPr algn="ctr" fontAlgn="ctr"/>
                      <a:r>
                        <a:rPr lang="uk-UA" sz="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uk-UA" sz="800" b="0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900" u="none" strike="noStrike" dirty="0" smtClean="0">
                          <a:effectLst/>
                        </a:rPr>
                        <a:t>ВСЬОГО</a:t>
                      </a:r>
                      <a:endParaRPr lang="uk-UA" sz="9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985" marR="6985" marT="698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 000 000,0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00 000,0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 500 000,0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800 000,0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00 000,0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 000 000,0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2 800 000,0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700 000,0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uk-UA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3 500 000,000</a:t>
                      </a:r>
                    </a:p>
                  </a:txBody>
                  <a:tcPr marL="9525" marR="9525" marT="9525" marB="0" anchor="ctr"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6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7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РОЗПОДІЛ ДФРР</a:t>
            </a:r>
            <a:r>
              <a:rPr lang="ru-RU" altLang="ru-RU" sz="2400" dirty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 </a:t>
            </a: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НА 2017 РІК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4356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10"/>
          <p:cNvPicPr>
            <a:picLocks noChangeAspect="1"/>
          </p:cNvPicPr>
          <p:nvPr/>
        </p:nvPicPr>
        <p:blipFill>
          <a:blip r:embed="rId4" cstate="print"/>
          <a:srcRect b="12531"/>
          <a:stretch>
            <a:fillRect/>
          </a:stretch>
        </p:blipFill>
        <p:spPr bwMode="auto">
          <a:xfrm>
            <a:off x="55937" y="3594374"/>
            <a:ext cx="9097962" cy="3284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Рисунок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25" y="0"/>
            <a:ext cx="1080691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Скругленный прямоугольник 4"/>
          <p:cNvSpPr/>
          <p:nvPr/>
        </p:nvSpPr>
        <p:spPr>
          <a:xfrm>
            <a:off x="1161986" y="116632"/>
            <a:ext cx="7344110" cy="574675"/>
          </a:xfrm>
          <a:prstGeom prst="rect">
            <a:avLst/>
          </a:prstGeom>
          <a:noFill/>
          <a:effectLst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60361" tIns="60361" rIns="60361" bIns="60361" anchor="ctr"/>
          <a:lstStyle/>
          <a:p>
            <a:pPr algn="ctr" defTabSz="703263">
              <a:lnSpc>
                <a:spcPct val="90000"/>
              </a:lnSpc>
              <a:spcAft>
                <a:spcPct val="35000"/>
              </a:spcAft>
              <a:defRPr/>
            </a:pPr>
            <a: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  <a:t>МІНІСТЕРСТВО РЕГІОНАЛЬНОГО РОЗВИТКУ, БУДІВНИЦТВА </a:t>
            </a:r>
            <a:b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</a:br>
            <a:r>
              <a:rPr lang="uk-UA" sz="1700" b="1" dirty="0">
                <a:solidFill>
                  <a:schemeClr val="tx2"/>
                </a:solidFill>
                <a:cs typeface="Times New Roman" pitchFamily="18" charset="0"/>
              </a:rPr>
              <a:t>ТА ЖИТЛОВО-КОМУНАЛЬНОГО ГОСПОДАРСТВА УКРАЇНИ</a:t>
            </a:r>
          </a:p>
        </p:txBody>
      </p:sp>
      <p:pic>
        <p:nvPicPr>
          <p:cNvPr id="8" name="Рисунок 12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480049" y="4941168"/>
            <a:ext cx="6673850" cy="191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17</a:t>
            </a:fld>
            <a:endParaRPr lang="uk-UA" dirty="0"/>
          </a:p>
        </p:txBody>
      </p:sp>
      <p:sp>
        <p:nvSpPr>
          <p:cNvPr id="10" name="Прямокутник 1"/>
          <p:cNvSpPr/>
          <p:nvPr/>
        </p:nvSpPr>
        <p:spPr>
          <a:xfrm>
            <a:off x="1230653" y="2088629"/>
            <a:ext cx="734481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uk-UA" sz="3200" b="1" dirty="0" smtClean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ЯКУЮ ЗА УВАГУ!</a:t>
            </a:r>
            <a:endParaRPr lang="uk-UA" sz="3200" b="1" dirty="0">
              <a:solidFill>
                <a:srgbClr val="00206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18500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Місце для тексту 2"/>
          <p:cNvSpPr>
            <a:spLocks noGrp="1"/>
          </p:cNvSpPr>
          <p:nvPr>
            <p:ph type="body" idx="1"/>
          </p:nvPr>
        </p:nvSpPr>
        <p:spPr>
          <a:xfrm>
            <a:off x="145626" y="1023307"/>
            <a:ext cx="8505818" cy="5644328"/>
          </a:xfrm>
        </p:spPr>
        <p:txBody>
          <a:bodyPr>
            <a:noAutofit/>
          </a:bodyPr>
          <a:lstStyle/>
          <a:p>
            <a:pPr algn="just"/>
            <a:r>
              <a:rPr lang="uk-UA" dirty="0" smtClean="0">
                <a:solidFill>
                  <a:srgbClr val="0070C0"/>
                </a:solidFill>
              </a:rPr>
              <a:t>	</a:t>
            </a:r>
            <a:r>
              <a:rPr lang="uk-UA" sz="2200" b="1" dirty="0" smtClean="0">
                <a:solidFill>
                  <a:srgbClr val="0070C0"/>
                </a:solidFill>
              </a:rPr>
              <a:t>Державний </a:t>
            </a:r>
            <a:r>
              <a:rPr lang="uk-UA" sz="2200" b="1" dirty="0">
                <a:solidFill>
                  <a:srgbClr val="0070C0"/>
                </a:solidFill>
              </a:rPr>
              <a:t>фонд регіонального розвитку</a:t>
            </a:r>
            <a:r>
              <a:rPr lang="uk-UA" sz="2200" dirty="0">
                <a:solidFill>
                  <a:srgbClr val="0070C0"/>
                </a:solidFill>
              </a:rPr>
              <a:t> (далі – ДФРР), як інструмент провадження державної політики регіонального розвитку </a:t>
            </a:r>
            <a:r>
              <a:rPr lang="uk-UA" sz="2200" b="1" dirty="0">
                <a:solidFill>
                  <a:srgbClr val="0070C0"/>
                </a:solidFill>
              </a:rPr>
              <a:t>розпочав свою роботу у 2012 році</a:t>
            </a:r>
            <a:r>
              <a:rPr lang="uk-UA" sz="2200" dirty="0">
                <a:solidFill>
                  <a:srgbClr val="0070C0"/>
                </a:solidFill>
              </a:rPr>
              <a:t>. </a:t>
            </a:r>
            <a:endParaRPr lang="uk-UA" sz="2200" dirty="0" smtClean="0">
              <a:solidFill>
                <a:srgbClr val="0070C0"/>
              </a:solidFill>
            </a:endParaRPr>
          </a:p>
          <a:p>
            <a:pPr algn="just"/>
            <a:r>
              <a:rPr lang="uk-UA" sz="2200" dirty="0" smtClean="0">
                <a:solidFill>
                  <a:srgbClr val="0070C0"/>
                </a:solidFill>
              </a:rPr>
              <a:t>	- З</a:t>
            </a:r>
            <a:r>
              <a:rPr lang="uk-UA" sz="2200" b="1" dirty="0" smtClean="0">
                <a:solidFill>
                  <a:srgbClr val="0070C0"/>
                </a:solidFill>
              </a:rPr>
              <a:t> 2012 до </a:t>
            </a:r>
            <a:r>
              <a:rPr lang="uk-UA" sz="2200" b="1" dirty="0">
                <a:solidFill>
                  <a:srgbClr val="0070C0"/>
                </a:solidFill>
              </a:rPr>
              <a:t>2015 року ДФРР</a:t>
            </a:r>
            <a:r>
              <a:rPr lang="uk-UA" sz="2200" dirty="0">
                <a:solidFill>
                  <a:srgbClr val="0070C0"/>
                </a:solidFill>
              </a:rPr>
              <a:t>, як бюджетну програму, було передбачено </a:t>
            </a:r>
            <a:r>
              <a:rPr lang="uk-UA" sz="2200" b="1" dirty="0">
                <a:solidFill>
                  <a:srgbClr val="0070C0"/>
                </a:solidFill>
              </a:rPr>
              <a:t>Міністерству </a:t>
            </a:r>
            <a:r>
              <a:rPr lang="uk-UA" sz="2200" b="1" dirty="0" smtClean="0">
                <a:solidFill>
                  <a:srgbClr val="0070C0"/>
                </a:solidFill>
              </a:rPr>
              <a:t>фінансів</a:t>
            </a:r>
            <a:r>
              <a:rPr lang="en-US" sz="2200" b="1" dirty="0" smtClean="0">
                <a:solidFill>
                  <a:srgbClr val="0070C0"/>
                </a:solidFill>
              </a:rPr>
              <a:t> </a:t>
            </a:r>
            <a:r>
              <a:rPr lang="uk-UA" sz="2200" b="1" dirty="0" smtClean="0">
                <a:solidFill>
                  <a:srgbClr val="0070C0"/>
                </a:solidFill>
              </a:rPr>
              <a:t>(головний розпорядник коштів).</a:t>
            </a:r>
            <a:endParaRPr lang="uk-UA" sz="2200" dirty="0" smtClean="0">
              <a:solidFill>
                <a:srgbClr val="0070C0"/>
              </a:solidFill>
            </a:endParaRPr>
          </a:p>
          <a:p>
            <a:pPr algn="just"/>
            <a:r>
              <a:rPr lang="uk-UA" sz="2200" dirty="0" smtClean="0">
                <a:solidFill>
                  <a:srgbClr val="0070C0"/>
                </a:solidFill>
              </a:rPr>
              <a:t> 	</a:t>
            </a:r>
            <a:r>
              <a:rPr lang="uk-UA" sz="2200" dirty="0">
                <a:solidFill>
                  <a:srgbClr val="0070C0"/>
                </a:solidFill>
              </a:rPr>
              <a:t>- </a:t>
            </a:r>
            <a:r>
              <a:rPr lang="uk-UA" sz="2200" dirty="0" smtClean="0">
                <a:solidFill>
                  <a:srgbClr val="0070C0"/>
                </a:solidFill>
              </a:rPr>
              <a:t>З</a:t>
            </a:r>
            <a:r>
              <a:rPr lang="uk-UA" sz="2200" b="1" dirty="0" smtClean="0">
                <a:solidFill>
                  <a:srgbClr val="0070C0"/>
                </a:solidFill>
              </a:rPr>
              <a:t> </a:t>
            </a:r>
            <a:r>
              <a:rPr lang="uk-UA" sz="2200" b="1" dirty="0">
                <a:solidFill>
                  <a:srgbClr val="0070C0"/>
                </a:solidFill>
              </a:rPr>
              <a:t>2012 до </a:t>
            </a:r>
            <a:r>
              <a:rPr lang="uk-UA" sz="2200" b="1" dirty="0" smtClean="0">
                <a:solidFill>
                  <a:srgbClr val="0070C0"/>
                </a:solidFill>
              </a:rPr>
              <a:t>2014 </a:t>
            </a:r>
            <a:r>
              <a:rPr lang="uk-UA" sz="2200" b="1" dirty="0">
                <a:solidFill>
                  <a:srgbClr val="0070C0"/>
                </a:solidFill>
              </a:rPr>
              <a:t>року </a:t>
            </a:r>
            <a:r>
              <a:rPr lang="uk-UA" sz="2200" b="1" dirty="0" smtClean="0">
                <a:solidFill>
                  <a:srgbClr val="0070C0"/>
                </a:solidFill>
              </a:rPr>
              <a:t>– </a:t>
            </a:r>
            <a:r>
              <a:rPr lang="uk-UA" sz="2200" dirty="0" smtClean="0">
                <a:solidFill>
                  <a:srgbClr val="0070C0"/>
                </a:solidFill>
              </a:rPr>
              <a:t>супровід цієї програми здійснювало </a:t>
            </a:r>
            <a:r>
              <a:rPr lang="uk-UA" sz="2200" b="1" dirty="0" err="1" smtClean="0">
                <a:solidFill>
                  <a:srgbClr val="0070C0"/>
                </a:solidFill>
              </a:rPr>
              <a:t>Мінекономрозвитку</a:t>
            </a:r>
            <a:r>
              <a:rPr lang="uk-UA" sz="2200" dirty="0">
                <a:solidFill>
                  <a:srgbClr val="0070C0"/>
                </a:solidFill>
              </a:rPr>
              <a:t> </a:t>
            </a:r>
            <a:r>
              <a:rPr lang="uk-UA" sz="2200" i="1" dirty="0" smtClean="0">
                <a:solidFill>
                  <a:srgbClr val="0070C0"/>
                </a:solidFill>
              </a:rPr>
              <a:t>(</a:t>
            </a:r>
            <a:r>
              <a:rPr lang="uk-UA" sz="2200" b="1" i="1" dirty="0" smtClean="0">
                <a:solidFill>
                  <a:srgbClr val="0070C0"/>
                </a:solidFill>
              </a:rPr>
              <a:t>у </a:t>
            </a:r>
            <a:r>
              <a:rPr lang="uk-UA" sz="2200" b="1" i="1" dirty="0">
                <a:solidFill>
                  <a:srgbClr val="0070C0"/>
                </a:solidFill>
              </a:rPr>
              <a:t>2014 році </a:t>
            </a:r>
            <a:r>
              <a:rPr lang="uk-UA" sz="2200" i="1" dirty="0">
                <a:solidFill>
                  <a:srgbClr val="0070C0"/>
                </a:solidFill>
              </a:rPr>
              <a:t>кошти ДФРР </a:t>
            </a:r>
            <a:r>
              <a:rPr lang="uk-UA" sz="2200" i="1" dirty="0" smtClean="0">
                <a:solidFill>
                  <a:srgbClr val="0070C0"/>
                </a:solidFill>
              </a:rPr>
              <a:t>не </a:t>
            </a:r>
            <a:r>
              <a:rPr lang="uk-UA" sz="2200" i="1" dirty="0">
                <a:solidFill>
                  <a:srgbClr val="0070C0"/>
                </a:solidFill>
              </a:rPr>
              <a:t>було використано </a:t>
            </a:r>
            <a:r>
              <a:rPr lang="uk-UA" sz="2200" i="1" dirty="0" smtClean="0">
                <a:solidFill>
                  <a:srgbClr val="0070C0"/>
                </a:solidFill>
              </a:rPr>
              <a:t>у </a:t>
            </a:r>
            <a:r>
              <a:rPr lang="uk-UA" sz="2200" i="1" dirty="0">
                <a:solidFill>
                  <a:srgbClr val="0070C0"/>
                </a:solidFill>
              </a:rPr>
              <a:t>зв’язку </a:t>
            </a:r>
            <a:r>
              <a:rPr lang="uk-UA" sz="2200" b="1" i="1" dirty="0">
                <a:solidFill>
                  <a:srgbClr val="0070C0"/>
                </a:solidFill>
              </a:rPr>
              <a:t>з </a:t>
            </a:r>
            <a:r>
              <a:rPr lang="uk-UA" sz="2200" b="1" i="1" dirty="0" smtClean="0">
                <a:solidFill>
                  <a:srgbClr val="0070C0"/>
                </a:solidFill>
              </a:rPr>
              <a:t>секвестром бюджету</a:t>
            </a:r>
            <a:r>
              <a:rPr lang="uk-UA" sz="2200" i="1" dirty="0" smtClean="0">
                <a:solidFill>
                  <a:srgbClr val="0070C0"/>
                </a:solidFill>
              </a:rPr>
              <a:t>). </a:t>
            </a:r>
          </a:p>
          <a:p>
            <a:pPr algn="just"/>
            <a:r>
              <a:rPr lang="uk-UA" sz="2200" dirty="0" smtClean="0">
                <a:solidFill>
                  <a:srgbClr val="0070C0"/>
                </a:solidFill>
              </a:rPr>
              <a:t>	- </a:t>
            </a:r>
            <a:r>
              <a:rPr lang="uk-UA" sz="2200" b="1" dirty="0" smtClean="0">
                <a:solidFill>
                  <a:srgbClr val="0070C0"/>
                </a:solidFill>
              </a:rPr>
              <a:t>З </a:t>
            </a:r>
            <a:r>
              <a:rPr lang="uk-UA" sz="2200" b="1" dirty="0">
                <a:solidFill>
                  <a:srgbClr val="0070C0"/>
                </a:solidFill>
              </a:rPr>
              <a:t>2015 року </a:t>
            </a:r>
            <a:r>
              <a:rPr lang="uk-UA" sz="2200" b="1" dirty="0" smtClean="0">
                <a:solidFill>
                  <a:srgbClr val="0070C0"/>
                </a:solidFill>
              </a:rPr>
              <a:t>супрові</a:t>
            </a:r>
            <a:r>
              <a:rPr lang="uk-UA" sz="2200" dirty="0" smtClean="0">
                <a:solidFill>
                  <a:srgbClr val="0070C0"/>
                </a:solidFill>
              </a:rPr>
              <a:t>д </a:t>
            </a:r>
            <a:r>
              <a:rPr lang="uk-UA" sz="2200" dirty="0">
                <a:solidFill>
                  <a:srgbClr val="0070C0"/>
                </a:solidFill>
              </a:rPr>
              <a:t>ДФРР здійснює </a:t>
            </a:r>
            <a:r>
              <a:rPr lang="uk-UA" sz="2200" b="1" dirty="0" err="1" smtClean="0">
                <a:solidFill>
                  <a:srgbClr val="0070C0"/>
                </a:solidFill>
              </a:rPr>
              <a:t>Мінрегіон</a:t>
            </a:r>
            <a:r>
              <a:rPr lang="uk-UA" sz="2200" dirty="0" smtClean="0">
                <a:solidFill>
                  <a:srgbClr val="0070C0"/>
                </a:solidFill>
              </a:rPr>
              <a:t>.</a:t>
            </a:r>
          </a:p>
          <a:p>
            <a:pPr algn="just"/>
            <a:r>
              <a:rPr lang="uk-UA" sz="2200" dirty="0" smtClean="0">
                <a:solidFill>
                  <a:srgbClr val="0070C0"/>
                </a:solidFill>
              </a:rPr>
              <a:t>	- </a:t>
            </a:r>
            <a:r>
              <a:rPr lang="uk-UA" sz="2200" b="1" dirty="0" smtClean="0">
                <a:solidFill>
                  <a:srgbClr val="0070C0"/>
                </a:solidFill>
              </a:rPr>
              <a:t>З 2016 </a:t>
            </a:r>
            <a:r>
              <a:rPr lang="uk-UA" sz="2200" b="1" dirty="0">
                <a:solidFill>
                  <a:srgbClr val="0070C0"/>
                </a:solidFill>
              </a:rPr>
              <a:t>року  </a:t>
            </a:r>
            <a:r>
              <a:rPr lang="uk-UA" sz="2200" b="1" dirty="0" err="1" smtClean="0">
                <a:solidFill>
                  <a:srgbClr val="0070C0"/>
                </a:solidFill>
              </a:rPr>
              <a:t>Мінрегіон</a:t>
            </a:r>
            <a:r>
              <a:rPr lang="uk-UA" sz="2200" b="1" dirty="0" smtClean="0">
                <a:solidFill>
                  <a:srgbClr val="0070C0"/>
                </a:solidFill>
              </a:rPr>
              <a:t> головний розпорядник коштів </a:t>
            </a:r>
            <a:r>
              <a:rPr lang="uk-UA" sz="2200" dirty="0" smtClean="0">
                <a:solidFill>
                  <a:srgbClr val="0070C0"/>
                </a:solidFill>
              </a:rPr>
              <a:t>ДФРР.</a:t>
            </a:r>
          </a:p>
          <a:p>
            <a:pPr algn="just"/>
            <a:r>
              <a:rPr lang="uk-UA" sz="2200" dirty="0" smtClean="0">
                <a:solidFill>
                  <a:srgbClr val="0070C0"/>
                </a:solidFill>
              </a:rPr>
              <a:t>	</a:t>
            </a:r>
            <a:r>
              <a:rPr lang="uk-UA" sz="2200" b="1" u="sng" dirty="0" smtClean="0">
                <a:solidFill>
                  <a:srgbClr val="0070C0"/>
                </a:solidFill>
              </a:rPr>
              <a:t>За </a:t>
            </a:r>
            <a:r>
              <a:rPr lang="uk-UA" sz="2200" b="1" u="sng" dirty="0">
                <a:solidFill>
                  <a:srgbClr val="0070C0"/>
                </a:solidFill>
              </a:rPr>
              <a:t>2 роки сформовано нову нормативну базу відбору та реалізації </a:t>
            </a:r>
            <a:r>
              <a:rPr lang="uk-UA" sz="2200" b="1" u="sng" dirty="0" smtClean="0">
                <a:solidFill>
                  <a:srgbClr val="0070C0"/>
                </a:solidFill>
              </a:rPr>
              <a:t>проектів</a:t>
            </a:r>
            <a:r>
              <a:rPr lang="uk-UA" sz="2200" dirty="0" smtClean="0">
                <a:solidFill>
                  <a:srgbClr val="0070C0"/>
                </a:solidFill>
              </a:rPr>
              <a:t> (постанови </a:t>
            </a:r>
            <a:r>
              <a:rPr lang="uk-UA" sz="2200" dirty="0">
                <a:solidFill>
                  <a:srgbClr val="0070C0"/>
                </a:solidFill>
              </a:rPr>
              <a:t>Кабінету Міністрів України - №№ 195 та 196 від 18.03.2016, наказами </a:t>
            </a:r>
            <a:r>
              <a:rPr lang="uk-UA" sz="2200" dirty="0" err="1">
                <a:solidFill>
                  <a:srgbClr val="0070C0"/>
                </a:solidFill>
              </a:rPr>
              <a:t>Мінрегіону</a:t>
            </a:r>
            <a:r>
              <a:rPr lang="uk-UA" sz="2200" dirty="0">
                <a:solidFill>
                  <a:srgbClr val="0070C0"/>
                </a:solidFill>
              </a:rPr>
              <a:t> – № 74 від 14.04.2015 та 80 від 24.04.2015 зі </a:t>
            </a:r>
            <a:r>
              <a:rPr lang="uk-UA" sz="2200" dirty="0" smtClean="0">
                <a:solidFill>
                  <a:srgbClr val="0070C0"/>
                </a:solidFill>
              </a:rPr>
              <a:t>змінами). </a:t>
            </a:r>
          </a:p>
        </p:txBody>
      </p:sp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2</a:t>
            </a:fld>
            <a:endParaRPr lang="uk-UA" dirty="0"/>
          </a:p>
        </p:txBody>
      </p:sp>
      <p:pic>
        <p:nvPicPr>
          <p:cNvPr id="5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6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СТАНОВЛЕННЯ ДФРР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574396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Діаграма 3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487812"/>
              </p:ext>
            </p:extLst>
          </p:nvPr>
        </p:nvGraphicFramePr>
        <p:xfrm>
          <a:off x="2992410" y="3643314"/>
          <a:ext cx="3015164" cy="21123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29" name="Діаграма 2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54887475"/>
              </p:ext>
            </p:extLst>
          </p:nvPr>
        </p:nvGraphicFramePr>
        <p:xfrm>
          <a:off x="107504" y="3610187"/>
          <a:ext cx="2899395" cy="23390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Місце для номера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3</a:t>
            </a:fld>
            <a:endParaRPr lang="uk-UA" dirty="0"/>
          </a:p>
        </p:txBody>
      </p:sp>
      <p:pic>
        <p:nvPicPr>
          <p:cNvPr id="5" name="Изображение 1" descr="minregion_logo_concept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6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7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ВИДАТКИ ДФРР У 2015-2017 РОКАХ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4" name="Округлений прямокутник 12"/>
          <p:cNvSpPr/>
          <p:nvPr/>
        </p:nvSpPr>
        <p:spPr>
          <a:xfrm>
            <a:off x="7357899" y="3512827"/>
            <a:ext cx="835176" cy="1959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1600" b="1" dirty="0" smtClean="0">
                <a:solidFill>
                  <a:schemeClr val="tx2">
                    <a:lumMod val="75000"/>
                  </a:schemeClr>
                </a:solidFill>
              </a:rPr>
              <a:t>2017 рік</a:t>
            </a:r>
            <a:endParaRPr lang="uk-UA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20" name="Table 1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0787176"/>
              </p:ext>
            </p:extLst>
          </p:nvPr>
        </p:nvGraphicFramePr>
        <p:xfrm>
          <a:off x="417338" y="5733256"/>
          <a:ext cx="4191724" cy="1033436"/>
        </p:xfrm>
        <a:graphic>
          <a:graphicData uri="http://schemas.openxmlformats.org/drawingml/2006/table">
            <a:tbl>
              <a:tblPr firstRow="1" bandRow="1"/>
              <a:tblGrid>
                <a:gridCol w="1105566"/>
                <a:gridCol w="3086158"/>
              </a:tblGrid>
              <a:tr h="35719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uk-UA" sz="900" b="1" noProof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58ED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uk-UA" sz="1050" kern="1200" noProof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ПЕРЕДБАЧЕНО</a:t>
                      </a:r>
                      <a:r>
                        <a:rPr lang="uk-UA" sz="1050" kern="1200" baseline="0" noProof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  КОШТІВ ДФРР У ДЕРЖБЮДЖЕТІ НА ВІДПОВІДНИЙ РІК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uk-UA" sz="1050" kern="1200" noProof="0" dirty="0" smtClean="0">
                        <a:solidFill>
                          <a:schemeClr val="tx1"/>
                        </a:solidFill>
                        <a:latin typeface="Calibri" panose="020F0502020204030204" pitchFamily="34" charset="0"/>
                        <a:ea typeface="+mn-ea"/>
                        <a:cs typeface="+mn-cs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461936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/>
                      <a:endParaRPr lang="uk-UA" sz="1000" b="1" noProof="0" dirty="0">
                        <a:solidFill>
                          <a:schemeClr val="bg1"/>
                        </a:solidFill>
                        <a:latin typeface="Calibri" panose="020F0502020204030204" pitchFamily="34" charset="0"/>
                      </a:endParaRP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5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СЯГ КОШТІВ ДФРР,  ЯКИЙ НЕ </a:t>
                      </a:r>
                      <a:r>
                        <a:rPr lang="uk-UA" sz="105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РИМАНО РЕГІОНАМИ У </a:t>
                      </a:r>
                      <a:r>
                        <a:rPr lang="uk-UA" sz="1050" kern="1200" baseline="0" noProof="0" dirty="0" smtClean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ВІДПОВІДНОМУ РОЦІ</a:t>
                      </a:r>
                    </a:p>
                  </a:txBody>
                  <a:tcPr marL="68580" marR="68580" anchor="ctr">
                    <a:lnL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ysClr val="window" lastClr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0" name="Прямоугольник 294"/>
          <p:cNvSpPr/>
          <p:nvPr/>
        </p:nvSpPr>
        <p:spPr>
          <a:xfrm>
            <a:off x="753523" y="4313629"/>
            <a:ext cx="599266" cy="26749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glow>
              <a:srgbClr val="4F81BD">
                <a:alpha val="40000"/>
              </a:srgbClr>
            </a:glow>
            <a:softEdge rad="25400"/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uk-UA" sz="2400" b="1" kern="0" dirty="0" smtClean="0">
                <a:solidFill>
                  <a:schemeClr val="bg1">
                    <a:lumMod val="95000"/>
                  </a:schemeClr>
                </a:solidFill>
                <a:latin typeface="Arial"/>
              </a:rPr>
              <a:t>2,9</a:t>
            </a:r>
            <a:endParaRPr lang="uk-UA" sz="2400" b="1" kern="0" dirty="0">
              <a:solidFill>
                <a:schemeClr val="bg1">
                  <a:lumMod val="95000"/>
                </a:schemeClr>
              </a:solidFill>
              <a:latin typeface="Arial"/>
            </a:endParaRPr>
          </a:p>
        </p:txBody>
      </p:sp>
      <p:sp>
        <p:nvSpPr>
          <p:cNvPr id="36" name="Прямоугольник 294"/>
          <p:cNvSpPr/>
          <p:nvPr/>
        </p:nvSpPr>
        <p:spPr>
          <a:xfrm>
            <a:off x="1877531" y="4311003"/>
            <a:ext cx="599266" cy="26749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glow>
              <a:srgbClr val="4F81BD">
                <a:alpha val="40000"/>
              </a:srgbClr>
            </a:glow>
            <a:softEdge rad="25400"/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uk-UA" sz="2400" b="1" kern="0" dirty="0" smtClean="0">
                <a:solidFill>
                  <a:schemeClr val="tx2"/>
                </a:solidFill>
                <a:latin typeface="Arial"/>
              </a:rPr>
              <a:t>2,0</a:t>
            </a:r>
            <a:endParaRPr lang="uk-UA" b="1" kern="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39" name="Прямоугольник 294"/>
          <p:cNvSpPr/>
          <p:nvPr/>
        </p:nvSpPr>
        <p:spPr>
          <a:xfrm>
            <a:off x="3779912" y="4313628"/>
            <a:ext cx="599266" cy="26749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glow>
              <a:srgbClr val="4F81BD">
                <a:alpha val="40000"/>
              </a:srgbClr>
            </a:glow>
            <a:softEdge rad="25400"/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uk-UA" sz="2400" b="1" kern="0" dirty="0" smtClean="0">
                <a:solidFill>
                  <a:schemeClr val="bg1">
                    <a:lumMod val="95000"/>
                  </a:schemeClr>
                </a:solidFill>
                <a:latin typeface="Arial"/>
              </a:rPr>
              <a:t>3,0</a:t>
            </a:r>
            <a:endParaRPr lang="uk-UA" b="1" kern="0" dirty="0">
              <a:solidFill>
                <a:schemeClr val="bg1">
                  <a:lumMod val="95000"/>
                </a:schemeClr>
              </a:solidFill>
              <a:latin typeface="Arial"/>
            </a:endParaRPr>
          </a:p>
        </p:txBody>
      </p:sp>
      <p:sp>
        <p:nvSpPr>
          <p:cNvPr id="40" name="Прямоугольник 294"/>
          <p:cNvSpPr/>
          <p:nvPr/>
        </p:nvSpPr>
        <p:spPr>
          <a:xfrm>
            <a:off x="4908838" y="4302443"/>
            <a:ext cx="599266" cy="26749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glow>
              <a:srgbClr val="4F81BD">
                <a:alpha val="40000"/>
              </a:srgbClr>
            </a:glow>
            <a:softEdge rad="25400"/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uk-UA" sz="2400" b="1" kern="0" dirty="0">
                <a:solidFill>
                  <a:schemeClr val="tx2"/>
                </a:solidFill>
                <a:latin typeface="Arial"/>
              </a:rPr>
              <a:t>2</a:t>
            </a:r>
            <a:r>
              <a:rPr lang="uk-UA" sz="2400" b="1" kern="0" dirty="0" smtClean="0">
                <a:solidFill>
                  <a:schemeClr val="tx2"/>
                </a:solidFill>
                <a:latin typeface="Arial"/>
              </a:rPr>
              <a:t>,8</a:t>
            </a:r>
            <a:endParaRPr lang="uk-UA" b="1" kern="0" dirty="0">
              <a:solidFill>
                <a:schemeClr val="tx2"/>
              </a:solidFill>
              <a:latin typeface="Arial"/>
            </a:endParaRPr>
          </a:p>
        </p:txBody>
      </p:sp>
      <p:graphicFrame>
        <p:nvGraphicFramePr>
          <p:cNvPr id="42" name="Діаграма 4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215976"/>
              </p:ext>
            </p:extLst>
          </p:nvPr>
        </p:nvGraphicFramePr>
        <p:xfrm>
          <a:off x="6084168" y="3575221"/>
          <a:ext cx="2990501" cy="2304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43" name="Прямоугольник 294"/>
          <p:cNvSpPr/>
          <p:nvPr/>
        </p:nvSpPr>
        <p:spPr>
          <a:xfrm>
            <a:off x="7985296" y="4302444"/>
            <a:ext cx="599266" cy="26749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glow>
              <a:srgbClr val="4F81BD">
                <a:alpha val="40000"/>
              </a:srgbClr>
            </a:glow>
            <a:softEdge rad="25400"/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uk-UA" sz="2400" b="1" kern="0" dirty="0" smtClean="0">
                <a:solidFill>
                  <a:schemeClr val="tx2"/>
                </a:solidFill>
                <a:latin typeface="Arial"/>
              </a:rPr>
              <a:t>3,2</a:t>
            </a:r>
            <a:endParaRPr lang="uk-UA" sz="1600" b="1" kern="0" dirty="0">
              <a:solidFill>
                <a:schemeClr val="tx2"/>
              </a:solidFill>
              <a:latin typeface="Arial"/>
            </a:endParaRPr>
          </a:p>
        </p:txBody>
      </p:sp>
      <p:sp>
        <p:nvSpPr>
          <p:cNvPr id="44" name="Прямоугольник 294"/>
          <p:cNvSpPr/>
          <p:nvPr/>
        </p:nvSpPr>
        <p:spPr>
          <a:xfrm>
            <a:off x="6906426" y="4302445"/>
            <a:ext cx="599266" cy="267499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>
            <a:glow>
              <a:srgbClr val="4F81BD">
                <a:alpha val="40000"/>
              </a:srgbClr>
            </a:glow>
            <a:softEdge rad="25400"/>
          </a:effectLst>
        </p:spPr>
        <p:txBody>
          <a:bodyPr lIns="36000" tIns="36000" rIns="36000" bIns="36000" anchor="ctr"/>
          <a:lstStyle/>
          <a:p>
            <a:pPr algn="ctr">
              <a:defRPr/>
            </a:pPr>
            <a:r>
              <a:rPr lang="uk-UA" sz="2400" b="1" kern="0" dirty="0" smtClean="0">
                <a:solidFill>
                  <a:schemeClr val="bg1">
                    <a:lumMod val="95000"/>
                  </a:schemeClr>
                </a:solidFill>
                <a:latin typeface="Arial"/>
              </a:rPr>
              <a:t>3,5</a:t>
            </a:r>
            <a:endParaRPr lang="uk-UA" b="1" kern="0" dirty="0">
              <a:solidFill>
                <a:schemeClr val="bg1">
                  <a:lumMod val="95000"/>
                </a:schemeClr>
              </a:solidFill>
              <a:latin typeface="Arial"/>
            </a:endParaRPr>
          </a:p>
        </p:txBody>
      </p:sp>
      <p:sp>
        <p:nvSpPr>
          <p:cNvPr id="45" name="Округлений прямокутник 12"/>
          <p:cNvSpPr/>
          <p:nvPr/>
        </p:nvSpPr>
        <p:spPr>
          <a:xfrm>
            <a:off x="1071157" y="3486695"/>
            <a:ext cx="835176" cy="1959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1600" b="1" dirty="0" smtClean="0">
                <a:solidFill>
                  <a:schemeClr val="tx2">
                    <a:lumMod val="75000"/>
                  </a:schemeClr>
                </a:solidFill>
              </a:rPr>
              <a:t>2015 рік</a:t>
            </a:r>
            <a:endParaRPr lang="uk-UA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6" name="Округлений прямокутник 45"/>
          <p:cNvSpPr/>
          <p:nvPr/>
        </p:nvSpPr>
        <p:spPr>
          <a:xfrm>
            <a:off x="4028347" y="3486417"/>
            <a:ext cx="835176" cy="19596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1600" b="1" dirty="0" smtClean="0">
                <a:solidFill>
                  <a:schemeClr val="tx2">
                    <a:lumMod val="75000"/>
                  </a:schemeClr>
                </a:solidFill>
              </a:rPr>
              <a:t>2016 рік</a:t>
            </a:r>
            <a:endParaRPr lang="uk-UA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8" name="Округлений прямокутник 12"/>
          <p:cNvSpPr/>
          <p:nvPr/>
        </p:nvSpPr>
        <p:spPr>
          <a:xfrm>
            <a:off x="3503480" y="2852936"/>
            <a:ext cx="1586000" cy="36004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</a:rPr>
              <a:t>РАЗОМ З ТИМ</a:t>
            </a:r>
            <a:endParaRPr lang="uk-UA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390611" y="1124744"/>
            <a:ext cx="83703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ДФРР – ФІНАНСОВИЙ ІНСТРУМЕНТ ВПРОВАДЖЕННЯ ДЕРЖАВНОЇ СТРАТЕГІЇ РЕГІОНАЛЬНОГО </a:t>
            </a:r>
            <a:r>
              <a:rPr lang="ru-RU" b="1" dirty="0" smtClean="0">
                <a:solidFill>
                  <a:schemeClr val="tx2">
                    <a:lumMod val="75000"/>
                  </a:schemeClr>
                </a:solidFill>
              </a:rPr>
              <a:t>РОЗВИТКУ</a:t>
            </a:r>
            <a:endParaRPr lang="uk-UA" sz="2000" b="1" dirty="0"/>
          </a:p>
        </p:txBody>
      </p:sp>
      <p:sp>
        <p:nvSpPr>
          <p:cNvPr id="3" name="TextBox 2"/>
          <p:cNvSpPr txBox="1"/>
          <p:nvPr/>
        </p:nvSpPr>
        <p:spPr>
          <a:xfrm>
            <a:off x="187932" y="1124744"/>
            <a:ext cx="2365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uk-UA" dirty="0"/>
          </a:p>
        </p:txBody>
      </p:sp>
      <p:sp>
        <p:nvSpPr>
          <p:cNvPr id="8" name="TextBox 7"/>
          <p:cNvSpPr txBox="1"/>
          <p:nvPr/>
        </p:nvSpPr>
        <p:spPr>
          <a:xfrm>
            <a:off x="80784" y="1879084"/>
            <a:ext cx="873030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b="1" i="1" dirty="0"/>
              <a:t>ВІДПОВІДНО ДО БЮДЖЕТНОГО КОДЕКСУ УКРАЇНИ (стаття 24</a:t>
            </a:r>
            <a:r>
              <a:rPr lang="uk-UA" b="1" i="1" baseline="30000" dirty="0"/>
              <a:t>1</a:t>
            </a:r>
            <a:r>
              <a:rPr lang="uk-UA" b="1" i="1" dirty="0"/>
              <a:t>) </a:t>
            </a:r>
          </a:p>
          <a:p>
            <a:pPr algn="ctr"/>
            <a:r>
              <a:rPr lang="uk-UA" b="1" i="1" dirty="0"/>
              <a:t>обсяг коштів ДФРР визначається  </a:t>
            </a:r>
          </a:p>
          <a:p>
            <a:pPr algn="ctr"/>
            <a:r>
              <a:rPr lang="uk-UA" sz="2000" b="1" i="1" dirty="0"/>
              <a:t>не менше 1% обсягу доходів загального фонду держбюджету </a:t>
            </a:r>
            <a:endParaRPr lang="uk-UA" sz="2000" b="1" dirty="0"/>
          </a:p>
          <a:p>
            <a:pPr lvl="1"/>
            <a:endParaRPr lang="uk-UA" sz="2000" dirty="0"/>
          </a:p>
        </p:txBody>
      </p:sp>
      <p:cxnSp>
        <p:nvCxnSpPr>
          <p:cNvPr id="54" name="Прямая соединительная линия 2"/>
          <p:cNvCxnSpPr/>
          <p:nvPr/>
        </p:nvCxnSpPr>
        <p:spPr>
          <a:xfrm>
            <a:off x="403061" y="1772816"/>
            <a:ext cx="819386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439702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965649" y="6492875"/>
            <a:ext cx="2133600" cy="365125"/>
          </a:xfrm>
        </p:spPr>
        <p:txBody>
          <a:bodyPr/>
          <a:lstStyle/>
          <a:p>
            <a:fld id="{9B4EB238-E5C8-4806-8CFE-7B153C4DC58A}" type="slidenum">
              <a:rPr lang="uk-UA" smtClean="0"/>
              <a:pPr/>
              <a:t>4</a:t>
            </a:fld>
            <a:endParaRPr lang="uk-UA" dirty="0"/>
          </a:p>
        </p:txBody>
      </p:sp>
      <p:pic>
        <p:nvPicPr>
          <p:cNvPr id="19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20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НОРМАТИВНА БАЗА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" name="Місце для вмісту 2"/>
          <p:cNvSpPr txBox="1">
            <a:spLocks/>
          </p:cNvSpPr>
          <p:nvPr/>
        </p:nvSpPr>
        <p:spPr>
          <a:xfrm>
            <a:off x="390611" y="1196752"/>
            <a:ext cx="8568952" cy="5047536"/>
          </a:xfrm>
          <a:prstGeom prst="rect">
            <a:avLst/>
          </a:prstGeom>
        </p:spPr>
        <p:txBody>
          <a:bodyPr vert="horz" wrap="square" lIns="91440" tIns="45720" rIns="91440" bIns="45720" rtlCol="0" anchor="t">
            <a:sp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indent="355600" algn="just"/>
            <a:r>
              <a:rPr lang="uk-UA" b="1" dirty="0" smtClean="0">
                <a:solidFill>
                  <a:schemeClr val="tx1"/>
                </a:solidFill>
              </a:rPr>
              <a:t>Кошти ДФРР розподіляються </a:t>
            </a:r>
            <a:r>
              <a:rPr lang="uk-UA" b="1" dirty="0">
                <a:solidFill>
                  <a:schemeClr val="tx1"/>
                </a:solidFill>
              </a:rPr>
              <a:t>таким чином:</a:t>
            </a:r>
          </a:p>
          <a:p>
            <a:pPr marL="541338" indent="-185738" algn="just" fontAlgn="base"/>
            <a:r>
              <a:rPr lang="uk-UA" b="1" dirty="0">
                <a:solidFill>
                  <a:srgbClr val="0070C0"/>
                </a:solidFill>
              </a:rPr>
              <a:t>80 %</a:t>
            </a:r>
            <a:r>
              <a:rPr lang="uk-UA" dirty="0"/>
              <a:t> </a:t>
            </a:r>
            <a:r>
              <a:rPr lang="uk-UA" b="1" dirty="0">
                <a:solidFill>
                  <a:schemeClr val="tx1"/>
                </a:solidFill>
              </a:rPr>
              <a:t>- </a:t>
            </a:r>
            <a:r>
              <a:rPr lang="uk-UA" b="1" dirty="0" smtClean="0">
                <a:solidFill>
                  <a:schemeClr val="tx1"/>
                </a:solidFill>
              </a:rPr>
              <a:t>всім регіонам відповідно </a:t>
            </a:r>
            <a:r>
              <a:rPr lang="uk-UA" b="1" dirty="0">
                <a:solidFill>
                  <a:schemeClr val="tx1"/>
                </a:solidFill>
              </a:rPr>
              <a:t>до </a:t>
            </a:r>
            <a:r>
              <a:rPr lang="uk-UA" b="1" dirty="0">
                <a:solidFill>
                  <a:srgbClr val="0070C0"/>
                </a:solidFill>
              </a:rPr>
              <a:t>чисельності</a:t>
            </a:r>
            <a:r>
              <a:rPr lang="uk-UA" dirty="0">
                <a:solidFill>
                  <a:srgbClr val="0070C0"/>
                </a:solidFill>
              </a:rPr>
              <a:t> </a:t>
            </a:r>
            <a:r>
              <a:rPr lang="uk-UA" dirty="0" smtClean="0">
                <a:solidFill>
                  <a:srgbClr val="0070C0"/>
                </a:solidFill>
              </a:rPr>
              <a:t>населення</a:t>
            </a:r>
            <a:r>
              <a:rPr lang="uk-UA" b="1" dirty="0" smtClean="0">
                <a:solidFill>
                  <a:schemeClr val="tx1"/>
                </a:solidFill>
              </a:rPr>
              <a:t>;</a:t>
            </a:r>
            <a:endParaRPr lang="uk-UA" b="1" dirty="0">
              <a:solidFill>
                <a:schemeClr val="tx1"/>
              </a:solidFill>
            </a:endParaRPr>
          </a:p>
          <a:p>
            <a:pPr marL="541338" indent="-185738" algn="just" fontAlgn="base"/>
            <a:r>
              <a:rPr lang="uk-UA" b="1" dirty="0">
                <a:solidFill>
                  <a:srgbClr val="0070C0"/>
                </a:solidFill>
              </a:rPr>
              <a:t>20 %</a:t>
            </a:r>
            <a:r>
              <a:rPr lang="uk-UA" dirty="0">
                <a:solidFill>
                  <a:srgbClr val="0070C0"/>
                </a:solidFill>
              </a:rPr>
              <a:t> </a:t>
            </a:r>
            <a:r>
              <a:rPr lang="uk-UA" b="1" dirty="0">
                <a:solidFill>
                  <a:schemeClr val="tx1"/>
                </a:solidFill>
              </a:rPr>
              <a:t>- </a:t>
            </a:r>
            <a:r>
              <a:rPr lang="uk-UA" dirty="0" smtClean="0">
                <a:solidFill>
                  <a:srgbClr val="0070C0"/>
                </a:solidFill>
              </a:rPr>
              <a:t>регіонам, </a:t>
            </a:r>
            <a:r>
              <a:rPr lang="uk-UA" dirty="0">
                <a:solidFill>
                  <a:srgbClr val="0070C0"/>
                </a:solidFill>
              </a:rPr>
              <a:t>у яких </a:t>
            </a:r>
            <a:r>
              <a:rPr lang="uk-UA" dirty="0" smtClean="0">
                <a:solidFill>
                  <a:srgbClr val="0070C0"/>
                </a:solidFill>
              </a:rPr>
              <a:t>показник </a:t>
            </a:r>
            <a:r>
              <a:rPr lang="uk-UA" b="1" dirty="0" smtClean="0">
                <a:solidFill>
                  <a:schemeClr val="tx1"/>
                </a:solidFill>
              </a:rPr>
              <a:t>валового </a:t>
            </a:r>
            <a:r>
              <a:rPr lang="uk-UA" b="1" dirty="0">
                <a:solidFill>
                  <a:schemeClr val="tx1"/>
                </a:solidFill>
              </a:rPr>
              <a:t>регіонального продукту в розрахунку на одну </a:t>
            </a:r>
            <a:r>
              <a:rPr lang="uk-UA" b="1" dirty="0" smtClean="0">
                <a:solidFill>
                  <a:schemeClr val="tx1"/>
                </a:solidFill>
              </a:rPr>
              <a:t>особу</a:t>
            </a:r>
            <a:r>
              <a:rPr lang="uk-UA" b="1" i="1" dirty="0" smtClean="0">
                <a:solidFill>
                  <a:schemeClr val="tx1"/>
                </a:solidFill>
              </a:rPr>
              <a:t> </a:t>
            </a:r>
            <a:r>
              <a:rPr lang="uk-UA" b="1" dirty="0" smtClean="0">
                <a:solidFill>
                  <a:srgbClr val="0070C0"/>
                </a:solidFill>
              </a:rPr>
              <a:t>менше </a:t>
            </a:r>
            <a:r>
              <a:rPr lang="uk-UA" b="1" dirty="0">
                <a:solidFill>
                  <a:srgbClr val="0070C0"/>
                </a:solidFill>
              </a:rPr>
              <a:t>75 відсотків </a:t>
            </a:r>
            <a:r>
              <a:rPr lang="uk-UA" dirty="0">
                <a:solidFill>
                  <a:srgbClr val="0070C0"/>
                </a:solidFill>
              </a:rPr>
              <a:t>середнього показника по </a:t>
            </a:r>
            <a:r>
              <a:rPr lang="uk-UA" dirty="0" smtClean="0">
                <a:solidFill>
                  <a:srgbClr val="0070C0"/>
                </a:solidFill>
              </a:rPr>
              <a:t>Україні</a:t>
            </a:r>
            <a:r>
              <a:rPr lang="uk-UA" dirty="0" smtClean="0">
                <a:solidFill>
                  <a:schemeClr val="tx1"/>
                </a:solidFill>
              </a:rPr>
              <a:t> </a:t>
            </a:r>
            <a:endParaRPr lang="uk-UA" b="1" dirty="0" smtClean="0">
              <a:solidFill>
                <a:schemeClr val="tx1"/>
              </a:solidFill>
            </a:endParaRPr>
          </a:p>
          <a:p>
            <a:pPr marL="541338" indent="-185738" algn="just" fontAlgn="base"/>
            <a:endParaRPr lang="uk-UA" sz="1800" b="1" i="1" dirty="0">
              <a:solidFill>
                <a:schemeClr val="tx1"/>
              </a:solidFill>
            </a:endParaRPr>
          </a:p>
          <a:p>
            <a:pPr marL="541338" indent="-185738" algn="just" fontAlgn="base"/>
            <a:endParaRPr lang="uk-UA" sz="700" b="1" i="1" dirty="0" smtClean="0">
              <a:solidFill>
                <a:schemeClr val="tx1"/>
              </a:solidFill>
            </a:endParaRPr>
          </a:p>
          <a:p>
            <a:pPr marL="177800" indent="-177800" algn="just" fontAlgn="base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b="1" i="1" dirty="0">
                <a:solidFill>
                  <a:srgbClr val="0070C0"/>
                </a:solidFill>
              </a:rPr>
              <a:t>Стаття 24¹ </a:t>
            </a:r>
            <a:r>
              <a:rPr lang="uk-UA" sz="1600" b="1" i="1" dirty="0">
                <a:solidFill>
                  <a:schemeClr val="tx1"/>
                </a:solidFill>
              </a:rPr>
              <a:t>"</a:t>
            </a:r>
            <a:r>
              <a:rPr lang="uk-UA" sz="1600" b="1" i="1" dirty="0">
                <a:solidFill>
                  <a:srgbClr val="0070C0"/>
                </a:solidFill>
              </a:rPr>
              <a:t>Державний фонд регіонального розвитку" </a:t>
            </a:r>
            <a:r>
              <a:rPr lang="uk-UA" sz="1600" b="1" i="1" dirty="0">
                <a:solidFill>
                  <a:schemeClr val="tx1"/>
                </a:solidFill>
              </a:rPr>
              <a:t>Бюджетного кодексу України;</a:t>
            </a:r>
          </a:p>
          <a:p>
            <a:pPr marL="177800" indent="-177800" algn="just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b="1" i="1" dirty="0">
                <a:solidFill>
                  <a:schemeClr val="tx1"/>
                </a:solidFill>
              </a:rPr>
              <a:t>Закон України "</a:t>
            </a:r>
            <a:r>
              <a:rPr lang="uk-UA" sz="1600" b="1" i="1" dirty="0">
                <a:solidFill>
                  <a:srgbClr val="0070C0"/>
                </a:solidFill>
              </a:rPr>
              <a:t>Про засади державної регіональної політики </a:t>
            </a:r>
            <a:r>
              <a:rPr lang="uk-UA" sz="1600" b="1" i="1" dirty="0" smtClean="0">
                <a:solidFill>
                  <a:schemeClr val="tx1"/>
                </a:solidFill>
              </a:rPr>
              <a:t>";</a:t>
            </a:r>
            <a:endParaRPr lang="uk-UA" sz="1600" b="1" i="1" dirty="0">
              <a:solidFill>
                <a:schemeClr val="tx1"/>
              </a:solidFill>
            </a:endParaRPr>
          </a:p>
          <a:p>
            <a:pPr marL="177800" indent="-177800" algn="just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b="1" i="1" dirty="0">
                <a:solidFill>
                  <a:srgbClr val="0070C0"/>
                </a:solidFill>
              </a:rPr>
              <a:t>Державна стратегія </a:t>
            </a:r>
            <a:r>
              <a:rPr lang="uk-UA" sz="1600" b="1" i="1" dirty="0" smtClean="0">
                <a:solidFill>
                  <a:schemeClr val="tx1"/>
                </a:solidFill>
              </a:rPr>
              <a:t>регіонального розвитку України </a:t>
            </a:r>
            <a:r>
              <a:rPr lang="uk-UA" sz="1600" b="1" i="1" dirty="0">
                <a:solidFill>
                  <a:schemeClr val="tx1"/>
                </a:solidFill>
              </a:rPr>
              <a:t>на період до 2020 </a:t>
            </a:r>
            <a:r>
              <a:rPr lang="uk-UA" sz="1600" b="1" i="1" dirty="0" smtClean="0">
                <a:solidFill>
                  <a:schemeClr val="tx1"/>
                </a:solidFill>
              </a:rPr>
              <a:t>року;</a:t>
            </a:r>
            <a:endParaRPr lang="uk-UA" sz="1600" b="1" i="1" dirty="0">
              <a:solidFill>
                <a:schemeClr val="tx1"/>
              </a:solidFill>
            </a:endParaRPr>
          </a:p>
          <a:p>
            <a:pPr marL="177800" indent="-177800" algn="just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b="1" i="1" dirty="0" smtClean="0">
                <a:solidFill>
                  <a:schemeClr val="tx1"/>
                </a:solidFill>
              </a:rPr>
              <a:t>Постанова КМУ </a:t>
            </a:r>
            <a:r>
              <a:rPr lang="uk-UA" sz="1600" b="1" i="1" dirty="0" smtClean="0">
                <a:solidFill>
                  <a:srgbClr val="0070C0"/>
                </a:solidFill>
              </a:rPr>
              <a:t>від 18.03.2015 № 196 </a:t>
            </a:r>
            <a:r>
              <a:rPr lang="uk-UA" sz="1600" b="1" i="1" dirty="0" smtClean="0">
                <a:solidFill>
                  <a:schemeClr val="tx1"/>
                </a:solidFill>
              </a:rPr>
              <a:t>"Деякі питання державного фонду регіонального розвитку ";</a:t>
            </a:r>
          </a:p>
          <a:p>
            <a:pPr marL="177800" indent="-177800" algn="just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uk-UA" sz="1600" b="1" i="1" dirty="0" smtClean="0">
                <a:solidFill>
                  <a:schemeClr val="tx1"/>
                </a:solidFill>
              </a:rPr>
              <a:t>Наказ </a:t>
            </a:r>
            <a:r>
              <a:rPr lang="uk-UA" sz="1600" b="1" i="1" dirty="0" err="1" smtClean="0">
                <a:solidFill>
                  <a:schemeClr val="tx1"/>
                </a:solidFill>
              </a:rPr>
              <a:t>Мінрегіону</a:t>
            </a:r>
            <a:r>
              <a:rPr lang="uk-UA" sz="1600" b="1" i="1" dirty="0" smtClean="0">
                <a:solidFill>
                  <a:schemeClr val="tx1"/>
                </a:solidFill>
              </a:rPr>
              <a:t> </a:t>
            </a:r>
            <a:r>
              <a:rPr lang="uk-UA" sz="1600" b="1" i="1" dirty="0">
                <a:solidFill>
                  <a:schemeClr val="tx1"/>
                </a:solidFill>
              </a:rPr>
              <a:t>"Питання підготовки, оцінки та відбору інвестиційних програм і проектів регіонального розвитку, що можуть реалізовуватися за рахунок коштів державного фонду регіонального розвитку" (</a:t>
            </a:r>
            <a:r>
              <a:rPr lang="uk-UA" sz="1600" b="1" i="1" dirty="0">
                <a:solidFill>
                  <a:srgbClr val="0070C0"/>
                </a:solidFill>
              </a:rPr>
              <a:t>№ 80, від </a:t>
            </a:r>
            <a:r>
              <a:rPr lang="uk-UA" sz="1600" b="1" i="1" dirty="0" smtClean="0">
                <a:solidFill>
                  <a:srgbClr val="0070C0"/>
                </a:solidFill>
              </a:rPr>
              <a:t>24 квітня 2015 року зі змінами від 01.04.2016 № 80</a:t>
            </a:r>
            <a:r>
              <a:rPr lang="uk-UA" sz="1600" b="1" i="1" dirty="0" smtClean="0">
                <a:solidFill>
                  <a:schemeClr val="tx1"/>
                </a:solidFill>
              </a:rPr>
              <a:t>)</a:t>
            </a: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>
            <a:off x="578156" y="3140968"/>
            <a:ext cx="8193862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191813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20" name="Прямоугольник 2"/>
          <p:cNvSpPr/>
          <p:nvPr/>
        </p:nvSpPr>
        <p:spPr>
          <a:xfrm flipV="1">
            <a:off x="390610" y="1063707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1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ЗМІНИ У 2017 РОЦІ ДО НОРМАТИВНОЇ БАЗИ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11" name="Округлений прямокутник 10"/>
          <p:cNvSpPr/>
          <p:nvPr/>
        </p:nvSpPr>
        <p:spPr>
          <a:xfrm>
            <a:off x="390610" y="1183240"/>
            <a:ext cx="3101270" cy="86295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Bef>
                <a:spcPts val="0"/>
              </a:spcBef>
              <a:spcAft>
                <a:spcPts val="1200"/>
              </a:spcAft>
            </a:pPr>
            <a:r>
              <a:rPr lang="uk-UA" sz="2000" b="1" dirty="0" err="1">
                <a:solidFill>
                  <a:schemeClr val="tx1"/>
                </a:solidFill>
              </a:rPr>
              <a:t>Внесено</a:t>
            </a:r>
            <a:r>
              <a:rPr lang="uk-UA" sz="2000" b="1" dirty="0">
                <a:solidFill>
                  <a:schemeClr val="tx1"/>
                </a:solidFill>
              </a:rPr>
              <a:t> зміни до </a:t>
            </a:r>
            <a:r>
              <a:rPr lang="uk-UA" sz="2000" b="1" dirty="0" smtClean="0">
                <a:solidFill>
                  <a:schemeClr val="tx1"/>
                </a:solidFill>
              </a:rPr>
              <a:t>статті 24¹ БК України </a:t>
            </a:r>
            <a:endParaRPr lang="uk-UA" sz="2000" b="1" dirty="0">
              <a:solidFill>
                <a:schemeClr val="tx1"/>
              </a:solidFill>
            </a:endParaRPr>
          </a:p>
        </p:txBody>
      </p:sp>
      <p:sp>
        <p:nvSpPr>
          <p:cNvPr id="12" name="Округлений прямокутник 11"/>
          <p:cNvSpPr/>
          <p:nvPr/>
        </p:nvSpPr>
        <p:spPr>
          <a:xfrm>
            <a:off x="3779912" y="1196752"/>
            <a:ext cx="4981075" cy="86409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spcAft>
                <a:spcPts val="1200"/>
              </a:spcAft>
            </a:pPr>
            <a:r>
              <a:rPr lang="uk-UA" sz="2000" b="1" dirty="0">
                <a:solidFill>
                  <a:schemeClr val="tx1"/>
                </a:solidFill>
              </a:rPr>
              <a:t>Розроблено проект Урядового рішення </a:t>
            </a:r>
            <a:r>
              <a:rPr lang="uk-UA" sz="2000" b="1" dirty="0" smtClean="0">
                <a:solidFill>
                  <a:schemeClr val="tx1"/>
                </a:solidFill>
              </a:rPr>
              <a:t>про внесення змін до постанови КМУ   </a:t>
            </a:r>
            <a:br>
              <a:rPr lang="uk-UA" sz="2000" b="1" dirty="0" smtClean="0">
                <a:solidFill>
                  <a:schemeClr val="tx1"/>
                </a:solidFill>
              </a:rPr>
            </a:br>
            <a:r>
              <a:rPr lang="uk-UA" sz="2000" b="1" dirty="0" smtClean="0">
                <a:solidFill>
                  <a:schemeClr val="tx1"/>
                </a:solidFill>
              </a:rPr>
              <a:t>від 18.03.2015 №196</a:t>
            </a:r>
            <a:endParaRPr lang="uk-UA" sz="2000" b="1" dirty="0">
              <a:solidFill>
                <a:schemeClr val="tx1"/>
              </a:solidFill>
            </a:endParaRPr>
          </a:p>
        </p:txBody>
      </p:sp>
      <p:sp>
        <p:nvSpPr>
          <p:cNvPr id="13" name="Округлений прямокутник 12"/>
          <p:cNvSpPr/>
          <p:nvPr/>
        </p:nvSpPr>
        <p:spPr>
          <a:xfrm>
            <a:off x="89986" y="2520240"/>
            <a:ext cx="2016224" cy="16561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10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%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на </a:t>
            </a:r>
            <a:r>
              <a:rPr lang="ru-RU" b="1" dirty="0" err="1">
                <a:solidFill>
                  <a:schemeClr val="accent1">
                    <a:lumMod val="75000"/>
                  </a:schemeClr>
                </a:solidFill>
              </a:rPr>
              <a:t>розвиток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b="1" dirty="0" err="1">
                <a:solidFill>
                  <a:schemeClr val="accent1">
                    <a:lumMod val="75000"/>
                  </a:schemeClr>
                </a:solidFill>
              </a:rPr>
              <a:t>спортивної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b="1" dirty="0" err="1">
                <a:solidFill>
                  <a:schemeClr val="accent1">
                    <a:lumMod val="75000"/>
                  </a:schemeClr>
                </a:solidFill>
              </a:rPr>
              <a:t>інфраструктури</a:t>
            </a:r>
            <a:endParaRPr lang="uk-UA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7" name="Округлений прямокутник 16"/>
          <p:cNvSpPr/>
          <p:nvPr/>
        </p:nvSpPr>
        <p:spPr>
          <a:xfrm>
            <a:off x="2422629" y="2520240"/>
            <a:ext cx="2164956" cy="16561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10% на </a:t>
            </a:r>
            <a:r>
              <a:rPr lang="ru-RU" b="1" dirty="0" err="1" smtClean="0">
                <a:solidFill>
                  <a:schemeClr val="accent1">
                    <a:lumMod val="75000"/>
                  </a:schemeClr>
                </a:solidFill>
              </a:rPr>
              <a:t>розвиток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b="1" dirty="0" err="1">
                <a:solidFill>
                  <a:schemeClr val="accent1">
                    <a:lumMod val="75000"/>
                  </a:schemeClr>
                </a:solidFill>
              </a:rPr>
              <a:t>енергоефективності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accent1">
                    <a:lumMod val="75000"/>
                  </a:schemeClr>
                </a:solidFill>
              </a:rPr>
              <a:t>навчальних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та </a:t>
            </a:r>
            <a:r>
              <a:rPr lang="ru-RU" b="1" dirty="0" err="1">
                <a:solidFill>
                  <a:schemeClr val="accent1">
                    <a:lumMod val="75000"/>
                  </a:schemeClr>
                </a:solidFill>
              </a:rPr>
              <a:t>медичних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accent1">
                    <a:lumMod val="75000"/>
                  </a:schemeClr>
                </a:solidFill>
              </a:rPr>
              <a:t>закладів</a:t>
            </a:r>
            <a:endParaRPr lang="uk-UA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23" name="Пряма зі стрілкою 22"/>
          <p:cNvCxnSpPr/>
          <p:nvPr/>
        </p:nvCxnSpPr>
        <p:spPr>
          <a:xfrm flipH="1">
            <a:off x="1017428" y="2070161"/>
            <a:ext cx="482741" cy="440766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 зі стрілкою 24"/>
          <p:cNvCxnSpPr/>
          <p:nvPr/>
        </p:nvCxnSpPr>
        <p:spPr>
          <a:xfrm>
            <a:off x="2480098" y="2074403"/>
            <a:ext cx="466050" cy="43363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Округлений прямокутник 29"/>
          <p:cNvSpPr/>
          <p:nvPr/>
        </p:nvSpPr>
        <p:spPr>
          <a:xfrm>
            <a:off x="132408" y="4475620"/>
            <a:ext cx="2016224" cy="165618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b="1" dirty="0" err="1" smtClean="0">
                <a:solidFill>
                  <a:schemeClr val="accent1">
                    <a:lumMod val="75000"/>
                  </a:schemeClr>
                </a:solidFill>
              </a:rPr>
              <a:t>Обов’язкове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b="1" dirty="0" err="1" smtClean="0">
                <a:solidFill>
                  <a:schemeClr val="accent1">
                    <a:lumMod val="75000"/>
                  </a:schemeClr>
                </a:solidFill>
              </a:rPr>
              <a:t>погодження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з </a:t>
            </a:r>
            <a:r>
              <a:rPr lang="ru-RU" b="1" dirty="0" err="1">
                <a:solidFill>
                  <a:schemeClr val="accent1">
                    <a:lumMod val="75000"/>
                  </a:schemeClr>
                </a:solidFill>
              </a:rPr>
              <a:t>Мінмолодьспорту</a:t>
            </a:r>
            <a:endParaRPr lang="uk-UA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31" name="Пряма зі стрілкою 30"/>
          <p:cNvCxnSpPr/>
          <p:nvPr/>
        </p:nvCxnSpPr>
        <p:spPr>
          <a:xfrm flipH="1">
            <a:off x="1098098" y="4158113"/>
            <a:ext cx="1" cy="302873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Округлений прямокутник 34"/>
          <p:cNvSpPr/>
          <p:nvPr/>
        </p:nvSpPr>
        <p:spPr>
          <a:xfrm>
            <a:off x="2294399" y="4332527"/>
            <a:ext cx="2697953" cy="1805492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1600" b="1" dirty="0">
                <a:solidFill>
                  <a:schemeClr val="accent1">
                    <a:lumMod val="75000"/>
                  </a:schemeClr>
                </a:solidFill>
              </a:rPr>
              <a:t>До складу Міжвідомчої комісії входять члени Комітету ВРУ з питань бюджету за рішенням цього комітету (чисельністю не менше 50 відсотків складу такої комісії)</a:t>
            </a:r>
          </a:p>
        </p:txBody>
      </p:sp>
      <p:sp>
        <p:nvSpPr>
          <p:cNvPr id="36" name="Округлений прямокутник 35"/>
          <p:cNvSpPr/>
          <p:nvPr/>
        </p:nvSpPr>
        <p:spPr>
          <a:xfrm>
            <a:off x="4895892" y="2465666"/>
            <a:ext cx="3602627" cy="1835626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1600" b="1" dirty="0">
                <a:solidFill>
                  <a:schemeClr val="accent1">
                    <a:lumMod val="75000"/>
                  </a:schemeClr>
                </a:solidFill>
              </a:rPr>
              <a:t>Проекти, що передбачають реалізацію заходів з енергозбереження розробляються у відповідності до ДБН та стандартів та забезпечують комплексний підхід та максимальну енергоефективність від їх </a:t>
            </a:r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</a:rPr>
              <a:t>реалізації</a:t>
            </a:r>
            <a:endParaRPr lang="uk-UA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37" name="Пряма зі стрілкою 36"/>
          <p:cNvCxnSpPr/>
          <p:nvPr/>
        </p:nvCxnSpPr>
        <p:spPr>
          <a:xfrm>
            <a:off x="2148632" y="2090584"/>
            <a:ext cx="207403" cy="236107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Номер слайда 3"/>
          <p:cNvSpPr txBox="1">
            <a:spLocks/>
          </p:cNvSpPr>
          <p:nvPr/>
        </p:nvSpPr>
        <p:spPr>
          <a:xfrm>
            <a:off x="8693224" y="6597352"/>
            <a:ext cx="4507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uk-UA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EB238-E5C8-4806-8CFE-7B153C4DC58A}" type="slidenum">
              <a:rPr lang="uk-UA" smtClean="0"/>
              <a:pPr/>
              <a:t>5</a:t>
            </a:fld>
            <a:endParaRPr lang="uk-UA" dirty="0"/>
          </a:p>
        </p:txBody>
      </p:sp>
      <p:cxnSp>
        <p:nvCxnSpPr>
          <p:cNvPr id="24" name="Пряма зі стрілкою 27"/>
          <p:cNvCxnSpPr/>
          <p:nvPr/>
        </p:nvCxnSpPr>
        <p:spPr>
          <a:xfrm>
            <a:off x="8644286" y="2070179"/>
            <a:ext cx="30331" cy="2390807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Округлений прямокутник 28"/>
          <p:cNvSpPr/>
          <p:nvPr/>
        </p:nvSpPr>
        <p:spPr>
          <a:xfrm>
            <a:off x="5364088" y="4451655"/>
            <a:ext cx="3636912" cy="1335413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1600" b="1" dirty="0" smtClean="0">
                <a:solidFill>
                  <a:schemeClr val="accent1">
                    <a:lumMod val="75000"/>
                  </a:schemeClr>
                </a:solidFill>
              </a:rPr>
              <a:t>Проектна документація заявниками на конкурс надається для проектів будівництва (нове будівництва, реконструкція, капітальний ремонт)</a:t>
            </a:r>
            <a:endParaRPr lang="uk-UA" sz="1600" b="1" dirty="0">
              <a:solidFill>
                <a:schemeClr val="accent1">
                  <a:lumMod val="75000"/>
                </a:schemeClr>
              </a:solidFill>
            </a:endParaRPr>
          </a:p>
        </p:txBody>
      </p:sp>
      <p:cxnSp>
        <p:nvCxnSpPr>
          <p:cNvPr id="32" name="Пряма зі стрілкою 27"/>
          <p:cNvCxnSpPr/>
          <p:nvPr/>
        </p:nvCxnSpPr>
        <p:spPr>
          <a:xfrm>
            <a:off x="6444208" y="2077658"/>
            <a:ext cx="17570" cy="40481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14462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Округлений прямокутник 26"/>
          <p:cNvSpPr/>
          <p:nvPr/>
        </p:nvSpPr>
        <p:spPr>
          <a:xfrm>
            <a:off x="6812694" y="1665691"/>
            <a:ext cx="2079786" cy="228516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algn="ctr"/>
            <a:endParaRPr lang="uk-UA" sz="1200" dirty="0" smtClean="0">
              <a:solidFill>
                <a:schemeClr val="tx1"/>
              </a:solidFill>
            </a:endParaRPr>
          </a:p>
          <a:p>
            <a:pPr algn="ctr"/>
            <a:endParaRPr lang="uk-UA" sz="1200" dirty="0" smtClean="0">
              <a:solidFill>
                <a:schemeClr val="tx1"/>
              </a:solidFill>
            </a:endParaRPr>
          </a:p>
          <a:p>
            <a:pPr algn="ctr"/>
            <a:r>
              <a:rPr lang="uk-UA" sz="1400" dirty="0" smtClean="0">
                <a:solidFill>
                  <a:schemeClr val="tx1"/>
                </a:solidFill>
              </a:rPr>
              <a:t>За пропозиціями регіональних комісій формують узагальнений перелік </a:t>
            </a:r>
            <a:r>
              <a:rPr lang="uk-UA" sz="1400" dirty="0">
                <a:solidFill>
                  <a:schemeClr val="tx1"/>
                </a:solidFill>
              </a:rPr>
              <a:t>програм і проектів, </a:t>
            </a:r>
            <a:r>
              <a:rPr lang="uk-UA" sz="1400" dirty="0" smtClean="0">
                <a:solidFill>
                  <a:schemeClr val="tx1"/>
                </a:solidFill>
              </a:rPr>
              <a:t>подають </a:t>
            </a:r>
          </a:p>
          <a:p>
            <a:pPr algn="ctr"/>
            <a:r>
              <a:rPr lang="uk-UA" sz="1600" i="1" dirty="0">
                <a:solidFill>
                  <a:srgbClr val="FF0000"/>
                </a:solidFill>
              </a:rPr>
              <a:t>до 1 травня</a:t>
            </a:r>
            <a:endParaRPr lang="uk-UA" sz="1600" dirty="0" smtClean="0">
              <a:solidFill>
                <a:schemeClr val="tx1"/>
              </a:solidFill>
            </a:endParaRP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МІНРЕГІОНУ</a:t>
            </a:r>
          </a:p>
        </p:txBody>
      </p:sp>
      <p:sp>
        <p:nvSpPr>
          <p:cNvPr id="28" name="Округлений прямокутник 27"/>
          <p:cNvSpPr/>
          <p:nvPr/>
        </p:nvSpPr>
        <p:spPr>
          <a:xfrm>
            <a:off x="2222682" y="1655981"/>
            <a:ext cx="2261893" cy="2309904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uk-UA" sz="1200" b="1" dirty="0" smtClean="0">
              <a:solidFill>
                <a:schemeClr val="tx1"/>
              </a:solidFill>
            </a:endParaRP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МІСЦЕВІ ТА </a:t>
            </a: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ЦЕНТРАЛЬНІ ОРГАНИ ВИКОНАВЧОЇ ВЛАДИ, ОМС </a:t>
            </a:r>
          </a:p>
          <a:p>
            <a:pPr algn="ctr"/>
            <a:r>
              <a:rPr lang="uk-UA" sz="1400" b="1" i="1" dirty="0" smtClean="0">
                <a:solidFill>
                  <a:srgbClr val="0070C0"/>
                </a:solidFill>
              </a:rPr>
              <a:t>Розміщують </a:t>
            </a:r>
            <a:r>
              <a:rPr lang="uk-UA" sz="1400" b="1" i="1" dirty="0">
                <a:solidFill>
                  <a:srgbClr val="0070C0"/>
                </a:solidFill>
              </a:rPr>
              <a:t>на </a:t>
            </a:r>
            <a:r>
              <a:rPr lang="uk-UA" sz="1400" b="1" i="1" dirty="0" smtClean="0">
                <a:solidFill>
                  <a:srgbClr val="0070C0"/>
                </a:solidFill>
              </a:rPr>
              <a:t>онлайн-платформі та </a:t>
            </a:r>
            <a:r>
              <a:rPr lang="uk-UA" sz="1400" b="1" i="1" dirty="0">
                <a:solidFill>
                  <a:srgbClr val="0070C0"/>
                </a:solidFill>
              </a:rPr>
              <a:t>подають програми і проекти</a:t>
            </a: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РЕГІОНАЛЬНИМ КОМІСІЯМ</a:t>
            </a:r>
          </a:p>
        </p:txBody>
      </p:sp>
      <p:sp>
        <p:nvSpPr>
          <p:cNvPr id="7" name="Прямокутник 6"/>
          <p:cNvSpPr/>
          <p:nvPr/>
        </p:nvSpPr>
        <p:spPr>
          <a:xfrm>
            <a:off x="7307992" y="1716456"/>
            <a:ext cx="1241365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600" b="1" dirty="0">
                <a:solidFill>
                  <a:prstClr val="black"/>
                </a:solidFill>
              </a:rPr>
              <a:t>ОДА, КМДА</a:t>
            </a:r>
          </a:p>
        </p:txBody>
      </p:sp>
      <p:sp>
        <p:nvSpPr>
          <p:cNvPr id="22" name="Округлений прямокутник 21"/>
          <p:cNvSpPr/>
          <p:nvPr/>
        </p:nvSpPr>
        <p:spPr>
          <a:xfrm>
            <a:off x="6201971" y="4293096"/>
            <a:ext cx="2690509" cy="2304256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uk-UA" sz="1400" dirty="0" smtClean="0">
              <a:solidFill>
                <a:schemeClr val="tx1"/>
              </a:solidFill>
            </a:endParaRPr>
          </a:p>
          <a:p>
            <a:pPr algn="ctr"/>
            <a:r>
              <a:rPr lang="uk-UA" sz="1400" b="1" dirty="0" smtClean="0">
                <a:solidFill>
                  <a:schemeClr val="tx1"/>
                </a:solidFill>
              </a:rPr>
              <a:t>МІНРЕГІОН</a:t>
            </a:r>
            <a:endParaRPr lang="en-US" sz="1400" b="1" dirty="0" smtClean="0">
              <a:solidFill>
                <a:schemeClr val="tx1"/>
              </a:solidFill>
            </a:endParaRPr>
          </a:p>
          <a:p>
            <a:pPr algn="ctr"/>
            <a:r>
              <a:rPr lang="uk-UA" sz="1600" i="1" dirty="0">
                <a:solidFill>
                  <a:srgbClr val="FF0000"/>
                </a:solidFill>
              </a:rPr>
              <a:t>до 1 серпня</a:t>
            </a:r>
            <a:endParaRPr lang="en-US" sz="1600" i="1" dirty="0">
              <a:solidFill>
                <a:schemeClr val="tx1"/>
              </a:solidFill>
            </a:endParaRPr>
          </a:p>
          <a:p>
            <a:pPr algn="ctr"/>
            <a:r>
              <a:rPr lang="uk-UA" sz="1400" dirty="0" smtClean="0">
                <a:solidFill>
                  <a:schemeClr val="tx1"/>
                </a:solidFill>
              </a:rPr>
              <a:t>Подає пропозиції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uk-UA" sz="1400" dirty="0" smtClean="0">
                <a:solidFill>
                  <a:schemeClr val="tx1"/>
                </a:solidFill>
              </a:rPr>
              <a:t>щодо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uk-UA" sz="1400" dirty="0" smtClean="0">
                <a:solidFill>
                  <a:schemeClr val="tx1"/>
                </a:solidFill>
              </a:rPr>
              <a:t>розподілу  коштів ДФРР з переліком інвестиційних програм</a:t>
            </a:r>
            <a:r>
              <a:rPr lang="ru-RU" sz="1400" dirty="0" smtClean="0">
                <a:solidFill>
                  <a:schemeClr val="tx1"/>
                </a:solidFill>
              </a:rPr>
              <a:t> </a:t>
            </a:r>
            <a:r>
              <a:rPr lang="ru-RU" sz="1400" dirty="0">
                <a:solidFill>
                  <a:schemeClr val="tx1"/>
                </a:solidFill>
              </a:rPr>
              <a:t>і проектів регіонального </a:t>
            </a:r>
            <a:r>
              <a:rPr lang="ru-RU" sz="1400" dirty="0" smtClean="0">
                <a:solidFill>
                  <a:schemeClr val="tx1"/>
                </a:solidFill>
              </a:rPr>
              <a:t>розвитку </a:t>
            </a:r>
            <a:r>
              <a:rPr lang="uk-UA" sz="1400" dirty="0" smtClean="0">
                <a:solidFill>
                  <a:schemeClr val="tx1"/>
                </a:solidFill>
              </a:rPr>
              <a:t>на </a:t>
            </a:r>
            <a:r>
              <a:rPr lang="uk-UA" sz="1400" b="1" dirty="0" smtClean="0">
                <a:solidFill>
                  <a:schemeClr val="tx1"/>
                </a:solidFill>
              </a:rPr>
              <a:t>затвердження КМУ </a:t>
            </a:r>
            <a:r>
              <a:rPr lang="uk-UA" sz="1400" dirty="0" smtClean="0">
                <a:solidFill>
                  <a:schemeClr val="tx1"/>
                </a:solidFill>
              </a:rPr>
              <a:t>за </a:t>
            </a:r>
            <a:r>
              <a:rPr lang="uk-UA" sz="1400" b="1" dirty="0" smtClean="0">
                <a:solidFill>
                  <a:schemeClr val="tx1"/>
                </a:solidFill>
              </a:rPr>
              <a:t>погодженням з Комітетом </a:t>
            </a:r>
            <a:r>
              <a:rPr lang="uk-UA" sz="1400" dirty="0" smtClean="0">
                <a:solidFill>
                  <a:schemeClr val="tx1"/>
                </a:solidFill>
              </a:rPr>
              <a:t>ВРУ з питань бюджету</a:t>
            </a:r>
          </a:p>
          <a:p>
            <a:pPr algn="ctr"/>
            <a:endParaRPr lang="ru-RU" sz="1000" dirty="0" smtClean="0">
              <a:solidFill>
                <a:schemeClr val="tx1"/>
              </a:solidFill>
            </a:endParaRPr>
          </a:p>
        </p:txBody>
      </p:sp>
      <p:sp>
        <p:nvSpPr>
          <p:cNvPr id="21" name="Округлений прямокутник 20"/>
          <p:cNvSpPr/>
          <p:nvPr/>
        </p:nvSpPr>
        <p:spPr>
          <a:xfrm>
            <a:off x="3164504" y="4293096"/>
            <a:ext cx="2487616" cy="2304256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271463" algn="ctr"/>
            <a:r>
              <a:rPr lang="uk-UA" sz="1600" b="1" dirty="0" smtClean="0">
                <a:solidFill>
                  <a:schemeClr val="tx1"/>
                </a:solidFill>
              </a:rPr>
              <a:t>КОМІСІЯ ПРИ МІНРЕГІОНІ</a:t>
            </a:r>
          </a:p>
          <a:p>
            <a:pPr algn="ctr"/>
            <a:endParaRPr lang="uk-UA" sz="1100" b="1" dirty="0" smtClean="0">
              <a:solidFill>
                <a:schemeClr val="tx1"/>
              </a:solidFill>
            </a:endParaRPr>
          </a:p>
          <a:p>
            <a:pPr algn="ctr"/>
            <a:r>
              <a:rPr lang="uk-UA" dirty="0" smtClean="0">
                <a:solidFill>
                  <a:schemeClr val="tx1"/>
                </a:solidFill>
              </a:rPr>
              <a:t>Проводить перевірку поданих документів на відповідність законодавству</a:t>
            </a:r>
          </a:p>
          <a:p>
            <a:pPr algn="ctr"/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6" name="Округлений прямокутник 15"/>
          <p:cNvSpPr/>
          <p:nvPr/>
        </p:nvSpPr>
        <p:spPr>
          <a:xfrm>
            <a:off x="4598747" y="1628954"/>
            <a:ext cx="2054320" cy="2297906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271463" algn="ctr">
              <a:tabLst>
                <a:tab pos="271463" algn="l"/>
              </a:tabLst>
            </a:pPr>
            <a:r>
              <a:rPr lang="uk-UA" sz="1600" b="1" dirty="0" smtClean="0">
                <a:solidFill>
                  <a:schemeClr val="tx1"/>
                </a:solidFill>
              </a:rPr>
              <a:t>РЕГІОНАЛЬНІ КОМІСІЇ</a:t>
            </a:r>
            <a:endParaRPr lang="uk-UA" sz="1600" dirty="0">
              <a:solidFill>
                <a:schemeClr val="tx1"/>
              </a:solidFill>
            </a:endParaRPr>
          </a:p>
          <a:p>
            <a:pPr algn="ctr"/>
            <a:r>
              <a:rPr lang="uk-UA" sz="1400" dirty="0" smtClean="0">
                <a:solidFill>
                  <a:schemeClr val="tx1"/>
                </a:solidFill>
              </a:rPr>
              <a:t>Проводять відбір програм </a:t>
            </a:r>
            <a:r>
              <a:rPr lang="uk-UA" sz="1400" dirty="0">
                <a:solidFill>
                  <a:schemeClr val="tx1"/>
                </a:solidFill>
              </a:rPr>
              <a:t>та </a:t>
            </a:r>
            <a:r>
              <a:rPr lang="uk-UA" sz="1400" dirty="0" smtClean="0">
                <a:solidFill>
                  <a:schemeClr val="tx1"/>
                </a:solidFill>
              </a:rPr>
              <a:t>проектів та подають пропозиції </a:t>
            </a:r>
            <a:r>
              <a:rPr lang="uk-UA" sz="1400" dirty="0">
                <a:solidFill>
                  <a:schemeClr val="tx1"/>
                </a:solidFill>
              </a:rPr>
              <a:t>щодо формування </a:t>
            </a:r>
          </a:p>
          <a:p>
            <a:pPr algn="ctr"/>
            <a:r>
              <a:rPr lang="uk-UA" sz="1400" dirty="0" smtClean="0">
                <a:solidFill>
                  <a:schemeClr val="tx1"/>
                </a:solidFill>
              </a:rPr>
              <a:t>переліків </a:t>
            </a:r>
            <a:r>
              <a:rPr lang="uk-UA" sz="1400" dirty="0">
                <a:solidFill>
                  <a:schemeClr val="tx1"/>
                </a:solidFill>
              </a:rPr>
              <a:t>програм і проектів </a:t>
            </a:r>
            <a:r>
              <a:rPr lang="uk-UA" sz="1000" dirty="0" smtClean="0">
                <a:solidFill>
                  <a:schemeClr val="tx1"/>
                </a:solidFill>
              </a:rPr>
              <a:t/>
            </a:r>
            <a:br>
              <a:rPr lang="uk-UA" sz="1000" dirty="0" smtClean="0">
                <a:solidFill>
                  <a:schemeClr val="tx1"/>
                </a:solidFill>
              </a:rPr>
            </a:br>
            <a:r>
              <a:rPr lang="uk-UA" sz="1600" b="1" dirty="0" smtClean="0">
                <a:solidFill>
                  <a:schemeClr val="tx1"/>
                </a:solidFill>
              </a:rPr>
              <a:t>ОДА, КМДА</a:t>
            </a:r>
          </a:p>
        </p:txBody>
      </p:sp>
      <p:sp>
        <p:nvSpPr>
          <p:cNvPr id="18" name="Округлений прямокутник 17"/>
          <p:cNvSpPr/>
          <p:nvPr/>
        </p:nvSpPr>
        <p:spPr>
          <a:xfrm>
            <a:off x="107503" y="1628954"/>
            <a:ext cx="1964251" cy="2321901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uk-UA" sz="1600" b="1" dirty="0" smtClean="0">
              <a:solidFill>
                <a:schemeClr val="tx1"/>
              </a:solidFill>
            </a:endParaRPr>
          </a:p>
          <a:p>
            <a:pPr algn="ctr"/>
            <a:r>
              <a:rPr lang="uk-UA" sz="1600" b="1" dirty="0" smtClean="0">
                <a:solidFill>
                  <a:schemeClr val="tx1"/>
                </a:solidFill>
              </a:rPr>
              <a:t>РЕГІОНАЛЬНІ КОМІСІЇ </a:t>
            </a:r>
            <a:r>
              <a:rPr lang="uk-UA" sz="1400" dirty="0" smtClean="0">
                <a:solidFill>
                  <a:schemeClr val="tx1"/>
                </a:solidFill>
              </a:rPr>
              <a:t>при обласних та Київській міській держадміністраціях</a:t>
            </a:r>
            <a:endParaRPr lang="uk-UA" sz="1400" dirty="0">
              <a:solidFill>
                <a:schemeClr val="tx1"/>
              </a:solidFill>
            </a:endParaRPr>
          </a:p>
          <a:p>
            <a:pPr lvl="0" algn="ctr"/>
            <a:endParaRPr lang="uk-UA" sz="1400" b="1" dirty="0" smtClean="0">
              <a:solidFill>
                <a:schemeClr val="tx1"/>
              </a:solidFill>
            </a:endParaRPr>
          </a:p>
          <a:p>
            <a:pPr lvl="0" algn="ctr"/>
            <a:r>
              <a:rPr lang="uk-UA" sz="1600" b="1" dirty="0" smtClean="0">
                <a:solidFill>
                  <a:schemeClr val="tx1"/>
                </a:solidFill>
              </a:rPr>
              <a:t>ОГОЛОШУЮТЬ КОНКУРС</a:t>
            </a:r>
            <a:endParaRPr lang="uk-UA" sz="1600" b="1" dirty="0">
              <a:solidFill>
                <a:schemeClr val="tx1"/>
              </a:solidFill>
            </a:endParaRPr>
          </a:p>
          <a:p>
            <a:pPr algn="ctr"/>
            <a:endParaRPr lang="uk-UA" sz="1400" b="1" dirty="0">
              <a:solidFill>
                <a:schemeClr val="tx1"/>
              </a:solidFill>
            </a:endParaRPr>
          </a:p>
        </p:txBody>
      </p:sp>
      <p:sp>
        <p:nvSpPr>
          <p:cNvPr id="48" name="Стрілка вправо 47"/>
          <p:cNvSpPr/>
          <p:nvPr/>
        </p:nvSpPr>
        <p:spPr>
          <a:xfrm>
            <a:off x="6617460" y="2495030"/>
            <a:ext cx="340006" cy="218843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0" name="Стрілка вправо 29"/>
          <p:cNvSpPr/>
          <p:nvPr/>
        </p:nvSpPr>
        <p:spPr>
          <a:xfrm>
            <a:off x="4359874" y="2565671"/>
            <a:ext cx="340006" cy="218843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МЕХАНІЗМ ФО</a:t>
            </a: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РМУВАННЯ ПЕРЕЛІКІВ 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9" name="Изображение 1" descr="minregion_logo_concep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32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57466" y="6481567"/>
            <a:ext cx="2133600" cy="365125"/>
          </a:xfrm>
        </p:spPr>
        <p:txBody>
          <a:bodyPr/>
          <a:lstStyle/>
          <a:p>
            <a:fld id="{D9007140-6995-4AB9-AB6F-66370758DCF6}" type="slidenum">
              <a:rPr lang="uk-UA" smtClean="0"/>
              <a:t>6</a:t>
            </a:fld>
            <a:endParaRPr lang="uk-UA" dirty="0"/>
          </a:p>
        </p:txBody>
      </p:sp>
      <p:sp>
        <p:nvSpPr>
          <p:cNvPr id="34" name="Стрілка вправо 33"/>
          <p:cNvSpPr/>
          <p:nvPr/>
        </p:nvSpPr>
        <p:spPr>
          <a:xfrm>
            <a:off x="2019896" y="2565672"/>
            <a:ext cx="340006" cy="218843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Блок-схема: вузол 7"/>
          <p:cNvSpPr/>
          <p:nvPr/>
        </p:nvSpPr>
        <p:spPr>
          <a:xfrm>
            <a:off x="358622" y="1628954"/>
            <a:ext cx="391451" cy="36004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dirty="0" smtClean="0"/>
              <a:t>І</a:t>
            </a:r>
            <a:endParaRPr lang="uk-UA" dirty="0"/>
          </a:p>
        </p:txBody>
      </p:sp>
      <p:sp>
        <p:nvSpPr>
          <p:cNvPr id="35" name="Блок-схема: вузол 34"/>
          <p:cNvSpPr/>
          <p:nvPr/>
        </p:nvSpPr>
        <p:spPr>
          <a:xfrm>
            <a:off x="2336412" y="1696710"/>
            <a:ext cx="432048" cy="41640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b="1" dirty="0" smtClean="0"/>
              <a:t>ІІ</a:t>
            </a:r>
            <a:endParaRPr lang="uk-UA" b="1" dirty="0"/>
          </a:p>
        </p:txBody>
      </p:sp>
      <p:sp>
        <p:nvSpPr>
          <p:cNvPr id="36" name="Блок-схема: вузол 35"/>
          <p:cNvSpPr/>
          <p:nvPr/>
        </p:nvSpPr>
        <p:spPr>
          <a:xfrm>
            <a:off x="4636504" y="1666790"/>
            <a:ext cx="507674" cy="44632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uk-UA" sz="1600" b="1" dirty="0" smtClean="0"/>
              <a:t>ІІІ</a:t>
            </a:r>
            <a:endParaRPr lang="uk-UA" sz="1600" b="1" dirty="0"/>
          </a:p>
        </p:txBody>
      </p:sp>
      <p:sp>
        <p:nvSpPr>
          <p:cNvPr id="37" name="Блок-схема: вузол 36"/>
          <p:cNvSpPr/>
          <p:nvPr/>
        </p:nvSpPr>
        <p:spPr>
          <a:xfrm>
            <a:off x="6843774" y="1716456"/>
            <a:ext cx="504055" cy="471540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500" b="1" dirty="0" smtClean="0"/>
              <a:t>IV</a:t>
            </a:r>
            <a:endParaRPr lang="uk-UA" sz="1500" b="1" dirty="0"/>
          </a:p>
        </p:txBody>
      </p:sp>
      <p:sp>
        <p:nvSpPr>
          <p:cNvPr id="39" name="Блок-схема: вузол 38"/>
          <p:cNvSpPr/>
          <p:nvPr/>
        </p:nvSpPr>
        <p:spPr>
          <a:xfrm>
            <a:off x="6237570" y="4386501"/>
            <a:ext cx="702748" cy="454657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VII</a:t>
            </a:r>
            <a:endParaRPr lang="uk-UA" b="1" dirty="0"/>
          </a:p>
        </p:txBody>
      </p:sp>
      <p:sp>
        <p:nvSpPr>
          <p:cNvPr id="23" name="Округлений прямокутник 22"/>
          <p:cNvSpPr/>
          <p:nvPr/>
        </p:nvSpPr>
        <p:spPr>
          <a:xfrm>
            <a:off x="105271" y="4293096"/>
            <a:ext cx="2441412" cy="2304256"/>
          </a:xfrm>
          <a:prstGeom prst="roundRect">
            <a:avLst/>
          </a:prstGeom>
          <a:ln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36000" tIns="36000" rIns="36000" bIns="36000" rtlCol="0" anchor="ctr"/>
          <a:lstStyle/>
          <a:p>
            <a:pPr marL="271463" algn="ctr"/>
            <a:r>
              <a:rPr lang="uk-UA" sz="1600" b="1" dirty="0" smtClean="0">
                <a:solidFill>
                  <a:schemeClr val="tx1"/>
                </a:solidFill>
              </a:rPr>
              <a:t>МІНМОЛОДЬСПОРТ</a:t>
            </a:r>
          </a:p>
          <a:p>
            <a:pPr algn="ctr"/>
            <a:endParaRPr lang="uk-UA" sz="1100" b="1" dirty="0" smtClean="0">
              <a:solidFill>
                <a:schemeClr val="tx1"/>
              </a:solidFill>
            </a:endParaRPr>
          </a:p>
          <a:p>
            <a:pPr algn="ctr"/>
            <a:r>
              <a:rPr lang="uk-UA" dirty="0" smtClean="0">
                <a:solidFill>
                  <a:schemeClr val="tx1"/>
                </a:solidFill>
              </a:rPr>
              <a:t>Погоджує об’єкти спортивної інфраструктури запропоновані регіонами</a:t>
            </a:r>
          </a:p>
          <a:p>
            <a:pPr algn="ctr"/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5" name="Блок-схема: вузол 24"/>
          <p:cNvSpPr/>
          <p:nvPr/>
        </p:nvSpPr>
        <p:spPr>
          <a:xfrm>
            <a:off x="35496" y="4456684"/>
            <a:ext cx="504056" cy="484484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2400" b="1" dirty="0" smtClean="0"/>
              <a:t>v</a:t>
            </a:r>
            <a:endParaRPr lang="uk-UA" sz="2400" b="1" dirty="0"/>
          </a:p>
        </p:txBody>
      </p:sp>
      <p:sp>
        <p:nvSpPr>
          <p:cNvPr id="26" name="Блок-схема: вузол 25"/>
          <p:cNvSpPr/>
          <p:nvPr/>
        </p:nvSpPr>
        <p:spPr>
          <a:xfrm>
            <a:off x="3197402" y="4408083"/>
            <a:ext cx="582510" cy="454657"/>
          </a:xfrm>
          <a:prstGeom prst="flowChartConnector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b="1" dirty="0" smtClean="0"/>
              <a:t>VI</a:t>
            </a:r>
            <a:endParaRPr lang="uk-UA" b="1" dirty="0"/>
          </a:p>
        </p:txBody>
      </p:sp>
      <p:sp>
        <p:nvSpPr>
          <p:cNvPr id="31" name="Стрілка вправо 30"/>
          <p:cNvSpPr/>
          <p:nvPr/>
        </p:nvSpPr>
        <p:spPr>
          <a:xfrm>
            <a:off x="2483768" y="5335802"/>
            <a:ext cx="713634" cy="218843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0" name="Стрілка вправо 39"/>
          <p:cNvSpPr/>
          <p:nvPr/>
        </p:nvSpPr>
        <p:spPr>
          <a:xfrm>
            <a:off x="5624132" y="5335801"/>
            <a:ext cx="713634" cy="218843"/>
          </a:xfrm>
          <a:prstGeom prst="rightArrow">
            <a:avLst/>
          </a:prstGeom>
          <a:solidFill>
            <a:schemeClr val="bg1">
              <a:lumMod val="95000"/>
            </a:schemeClr>
          </a:solidFill>
          <a:ln w="1905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73748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9" name="Прямоугольник 2"/>
          <p:cNvSpPr/>
          <p:nvPr/>
        </p:nvSpPr>
        <p:spPr>
          <a:xfrm flipV="1">
            <a:off x="316423" y="1026130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007140-6995-4AB9-AB6F-66370758DCF6}" type="slidenum">
              <a:rPr lang="uk-UA" smtClean="0"/>
              <a:pPr/>
              <a:t>7</a:t>
            </a:fld>
            <a:endParaRPr lang="uk-UA" dirty="0"/>
          </a:p>
        </p:txBody>
      </p:sp>
      <p:sp>
        <p:nvSpPr>
          <p:cNvPr id="5" name="Прямокутник 4"/>
          <p:cNvSpPr/>
          <p:nvPr/>
        </p:nvSpPr>
        <p:spPr>
          <a:xfrm>
            <a:off x="971600" y="376531"/>
            <a:ext cx="7715200" cy="46166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/>
          <a:p>
            <a:pPr algn="ctr" fontAlgn="base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tabLst>
                <a:tab pos="879279" algn="l"/>
              </a:tabLst>
            </a:pPr>
            <a:r>
              <a:rPr lang="uk-UA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УМОВИ ФІНАНСУВАННЯ ПРОЕКТІВ</a:t>
            </a:r>
            <a:endParaRPr lang="uk-UA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7" name="Округлений прямокутник 12"/>
          <p:cNvSpPr/>
          <p:nvPr/>
        </p:nvSpPr>
        <p:spPr>
          <a:xfrm>
            <a:off x="2161068" y="1201670"/>
            <a:ext cx="4829461" cy="646187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2400" b="1" u="sng" dirty="0" smtClean="0">
                <a:solidFill>
                  <a:srgbClr val="0070C0"/>
                </a:solidFill>
              </a:rPr>
              <a:t>ЗАЯВНИКАМИ ПРОЕКТІВ Є:</a:t>
            </a:r>
          </a:p>
          <a:p>
            <a:pPr algn="ctr"/>
            <a:r>
              <a:rPr lang="uk-UA" sz="1600" dirty="0" smtClean="0">
                <a:solidFill>
                  <a:schemeClr val="tx1"/>
                </a:solidFill>
              </a:rPr>
              <a:t>(</a:t>
            </a:r>
            <a:r>
              <a:rPr lang="uk-UA" sz="1600" dirty="0">
                <a:solidFill>
                  <a:schemeClr val="tx1"/>
                </a:solidFill>
              </a:rPr>
              <a:t>власники державних та комунальних об'єктів</a:t>
            </a:r>
            <a:r>
              <a:rPr lang="uk-UA" sz="1600" dirty="0" smtClean="0">
                <a:solidFill>
                  <a:schemeClr val="tx1"/>
                </a:solidFill>
              </a:rPr>
              <a:t>)</a:t>
            </a:r>
            <a:endParaRPr lang="uk-UA" sz="1600" dirty="0">
              <a:solidFill>
                <a:schemeClr val="tx1"/>
              </a:solidFill>
            </a:endParaRPr>
          </a:p>
        </p:txBody>
      </p:sp>
      <p:sp>
        <p:nvSpPr>
          <p:cNvPr id="11" name="Округлений прямокутник 12"/>
          <p:cNvSpPr/>
          <p:nvPr/>
        </p:nvSpPr>
        <p:spPr>
          <a:xfrm>
            <a:off x="316422" y="1977679"/>
            <a:ext cx="3823529" cy="659234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just"/>
            <a:endParaRPr lang="uk-UA" sz="800" b="1" i="1" dirty="0">
              <a:solidFill>
                <a:srgbClr val="FF0000"/>
              </a:solidFill>
            </a:endParaRPr>
          </a:p>
          <a:p>
            <a:pPr algn="ctr"/>
            <a:r>
              <a:rPr lang="uk-UA" b="1" dirty="0" smtClean="0">
                <a:solidFill>
                  <a:srgbClr val="0070C0"/>
                </a:solidFill>
              </a:rPr>
              <a:t>МІСЦЕВІ І ЦЕНТРАЛЬНІ ОРГАНИ ВИКОНАВЧОЇ ВЛАДИ</a:t>
            </a:r>
            <a:endParaRPr lang="uk-UA" dirty="0"/>
          </a:p>
        </p:txBody>
      </p:sp>
      <p:sp>
        <p:nvSpPr>
          <p:cNvPr id="12" name="Округлений прямокутник 12"/>
          <p:cNvSpPr/>
          <p:nvPr/>
        </p:nvSpPr>
        <p:spPr>
          <a:xfrm>
            <a:off x="4932040" y="1977081"/>
            <a:ext cx="3754760" cy="659028"/>
          </a:xfrm>
          <a:prstGeom prst="round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just"/>
            <a:endParaRPr lang="uk-UA" sz="800" b="1" i="1" dirty="0">
              <a:solidFill>
                <a:srgbClr val="FF0000"/>
              </a:solidFill>
            </a:endParaRPr>
          </a:p>
          <a:p>
            <a:pPr algn="ctr"/>
            <a:r>
              <a:rPr lang="uk-UA" b="1" dirty="0" smtClean="0">
                <a:solidFill>
                  <a:srgbClr val="0070C0"/>
                </a:solidFill>
              </a:rPr>
              <a:t>ОРГАНИ МІСЦЕВОГО САМОВРЯДУВАННЯ</a:t>
            </a:r>
            <a:endParaRPr lang="uk-UA" dirty="0"/>
          </a:p>
        </p:txBody>
      </p:sp>
      <p:cxnSp>
        <p:nvCxnSpPr>
          <p:cNvPr id="13" name="Прямая со стрелкой 12"/>
          <p:cNvCxnSpPr>
            <a:stCxn id="7" idx="2"/>
          </p:cNvCxnSpPr>
          <p:nvPr/>
        </p:nvCxnSpPr>
        <p:spPr>
          <a:xfrm>
            <a:off x="4575799" y="1847857"/>
            <a:ext cx="356241" cy="28499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H="1">
            <a:off x="4139951" y="1847857"/>
            <a:ext cx="367775" cy="284999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круглений прямокутник 12"/>
          <p:cNvSpPr/>
          <p:nvPr/>
        </p:nvSpPr>
        <p:spPr>
          <a:xfrm>
            <a:off x="1513559" y="2944294"/>
            <a:ext cx="6480720" cy="597047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2400" b="1" u="sng" dirty="0" smtClean="0">
                <a:solidFill>
                  <a:schemeClr val="accent6">
                    <a:lumMod val="75000"/>
                  </a:schemeClr>
                </a:solidFill>
              </a:rPr>
              <a:t>ПРОЕКТИ МАЮТЬ ВІДПОВІДАТИ ОДНІЙ З УМОВ:</a:t>
            </a:r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>
            <a:off x="1043608" y="2780928"/>
            <a:ext cx="7272808" cy="0"/>
          </a:xfrm>
          <a:prstGeom prst="line">
            <a:avLst/>
          </a:prstGeom>
          <a:ln w="381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Округлений прямокутник 12"/>
          <p:cNvSpPr/>
          <p:nvPr/>
        </p:nvSpPr>
        <p:spPr>
          <a:xfrm>
            <a:off x="172160" y="3703553"/>
            <a:ext cx="2665469" cy="88774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just"/>
            <a:endParaRPr lang="uk-UA" sz="800" b="1" i="1" dirty="0">
              <a:solidFill>
                <a:srgbClr val="FF0000"/>
              </a:solidFill>
            </a:endParaRPr>
          </a:p>
          <a:p>
            <a:pPr algn="ctr"/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</a:rPr>
              <a:t>СТРАТЕГІЯМ РОЗВИТКУ РЕГІОНУ ТА ПЛАНАМ ЗАХОДІВ З ЇХ РЕАЛІЗАЦІЇ</a:t>
            </a:r>
            <a:endParaRPr lang="uk-UA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5" name="Округлений прямокутник 12"/>
          <p:cNvSpPr/>
          <p:nvPr/>
        </p:nvSpPr>
        <p:spPr>
          <a:xfrm>
            <a:off x="6036900" y="3714572"/>
            <a:ext cx="2846916" cy="907792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800" b="1" i="1" dirty="0">
              <a:solidFill>
                <a:srgbClr val="FF0000"/>
              </a:solidFill>
            </a:endParaRPr>
          </a:p>
          <a:p>
            <a:pPr algn="ctr"/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</a:rPr>
              <a:t>ПРОЕКТИ  СПІВРОБІТНИЦТВА ТЕРИТОРІАЛЬНИХ ГРОМАД</a:t>
            </a:r>
            <a:endParaRPr lang="uk-UA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6" name="Округлений прямокутник 12"/>
          <p:cNvSpPr/>
          <p:nvPr/>
        </p:nvSpPr>
        <p:spPr>
          <a:xfrm>
            <a:off x="2915816" y="3703553"/>
            <a:ext cx="3015672" cy="88774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 w="1905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</a:rPr>
              <a:t>ПІДТРИМКА </a:t>
            </a:r>
          </a:p>
          <a:p>
            <a:pPr algn="ctr"/>
            <a:r>
              <a:rPr lang="uk-UA" b="1" dirty="0" smtClean="0">
                <a:solidFill>
                  <a:schemeClr val="accent6">
                    <a:lumMod val="75000"/>
                  </a:schemeClr>
                </a:solidFill>
              </a:rPr>
              <a:t>ДОБРОВІЛЬНО ОБ’ЄДНАНИХ ТЕРИТОРІАЛЬНИХ ГРОМАД</a:t>
            </a:r>
            <a:endParaRPr lang="uk-UA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28" name="Прямая со стрелкой 27"/>
          <p:cNvCxnSpPr/>
          <p:nvPr/>
        </p:nvCxnSpPr>
        <p:spPr>
          <a:xfrm>
            <a:off x="1691680" y="3541341"/>
            <a:ext cx="0" cy="17569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1" name="Округлений прямокутник 12"/>
          <p:cNvSpPr/>
          <p:nvPr/>
        </p:nvSpPr>
        <p:spPr>
          <a:xfrm>
            <a:off x="557138" y="4885219"/>
            <a:ext cx="8037322" cy="52741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2400" b="1" u="sng" dirty="0" smtClean="0">
                <a:solidFill>
                  <a:schemeClr val="accent3">
                    <a:lumMod val="50000"/>
                  </a:schemeClr>
                </a:solidFill>
              </a:rPr>
              <a:t>КРИТЕРІЇ ВІДБОРУ ПРОЕКТІВ РЕГІОНАЛЬНИМИ КОМІСІЯМИ:</a:t>
            </a: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1043608" y="4725144"/>
            <a:ext cx="7272808" cy="0"/>
          </a:xfrm>
          <a:prstGeom prst="line">
            <a:avLst/>
          </a:prstGeom>
          <a:ln w="38100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 стрелкой 36"/>
          <p:cNvCxnSpPr/>
          <p:nvPr/>
        </p:nvCxnSpPr>
        <p:spPr>
          <a:xfrm>
            <a:off x="4355976" y="3541341"/>
            <a:ext cx="0" cy="17569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38" name="Прямая со стрелкой 37"/>
          <p:cNvCxnSpPr/>
          <p:nvPr/>
        </p:nvCxnSpPr>
        <p:spPr>
          <a:xfrm>
            <a:off x="7596336" y="3527862"/>
            <a:ext cx="0" cy="175691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39" name="Округлений прямокутник 12"/>
          <p:cNvSpPr/>
          <p:nvPr/>
        </p:nvSpPr>
        <p:spPr>
          <a:xfrm>
            <a:off x="172159" y="5585802"/>
            <a:ext cx="1988909" cy="1135673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b="1" dirty="0" smtClean="0">
                <a:solidFill>
                  <a:schemeClr val="accent3">
                    <a:lumMod val="50000"/>
                  </a:schemeClr>
                </a:solidFill>
              </a:rPr>
              <a:t>календарний </a:t>
            </a:r>
            <a:r>
              <a:rPr lang="uk-UA" b="1" dirty="0">
                <a:solidFill>
                  <a:schemeClr val="accent3">
                    <a:lumMod val="50000"/>
                  </a:schemeClr>
                </a:solidFill>
              </a:rPr>
              <a:t>план реалізації </a:t>
            </a:r>
            <a:r>
              <a:rPr lang="uk-UA" b="1" dirty="0" smtClean="0">
                <a:solidFill>
                  <a:schemeClr val="accent3">
                    <a:lumMod val="50000"/>
                  </a:schemeClr>
                </a:solidFill>
              </a:rPr>
              <a:t>проектів</a:t>
            </a:r>
          </a:p>
          <a:p>
            <a:pPr algn="ctr"/>
            <a:r>
              <a:rPr lang="uk-UA" b="1" u="sng" dirty="0" smtClean="0">
                <a:solidFill>
                  <a:schemeClr val="accent3">
                    <a:lumMod val="50000"/>
                  </a:schemeClr>
                </a:solidFill>
              </a:rPr>
              <a:t>1-3 роки</a:t>
            </a:r>
            <a:endParaRPr lang="uk-UA" b="1" u="sng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0" name="Округлений прямокутник 12"/>
          <p:cNvSpPr/>
          <p:nvPr/>
        </p:nvSpPr>
        <p:spPr>
          <a:xfrm>
            <a:off x="2334929" y="5585802"/>
            <a:ext cx="1988909" cy="1135673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b="1" dirty="0" err="1">
                <a:solidFill>
                  <a:schemeClr val="accent3">
                    <a:lumMod val="50000"/>
                  </a:schemeClr>
                </a:solidFill>
              </a:rPr>
              <a:t>співфінансування</a:t>
            </a:r>
            <a:r>
              <a:rPr lang="uk-UA" b="1" dirty="0">
                <a:solidFill>
                  <a:schemeClr val="accent3">
                    <a:lumMod val="50000"/>
                  </a:schemeClr>
                </a:solidFill>
              </a:rPr>
              <a:t> з місцевих бюджетів ≥ </a:t>
            </a:r>
            <a:r>
              <a:rPr lang="uk-UA" b="1" dirty="0" smtClean="0">
                <a:solidFill>
                  <a:schemeClr val="accent3">
                    <a:lumMod val="50000"/>
                  </a:schemeClr>
                </a:solidFill>
              </a:rPr>
              <a:t>10%</a:t>
            </a:r>
            <a:endParaRPr lang="uk-UA" b="1" u="sng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1" name="Округлений прямокутник 12"/>
          <p:cNvSpPr/>
          <p:nvPr/>
        </p:nvSpPr>
        <p:spPr>
          <a:xfrm>
            <a:off x="4497699" y="5585802"/>
            <a:ext cx="1988909" cy="1135674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b="1" dirty="0">
                <a:solidFill>
                  <a:schemeClr val="accent3">
                    <a:lumMod val="50000"/>
                  </a:schemeClr>
                </a:solidFill>
              </a:rPr>
              <a:t>подальше власне фінансування</a:t>
            </a:r>
            <a:r>
              <a:rPr lang="uk-UA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uk-UA" b="1" dirty="0">
                <a:solidFill>
                  <a:schemeClr val="accent3">
                    <a:lumMod val="50000"/>
                  </a:schemeClr>
                </a:solidFill>
              </a:rPr>
              <a:t>⁄ </a:t>
            </a:r>
            <a:r>
              <a:rPr lang="uk-UA" b="1" dirty="0" smtClean="0">
                <a:solidFill>
                  <a:schemeClr val="accent3">
                    <a:lumMod val="50000"/>
                  </a:schemeClr>
                </a:solidFill>
              </a:rPr>
              <a:t>утримання </a:t>
            </a:r>
          </a:p>
          <a:p>
            <a:pPr algn="ctr"/>
            <a:r>
              <a:rPr lang="uk-UA" sz="1100" dirty="0" smtClean="0">
                <a:solidFill>
                  <a:schemeClr val="accent3">
                    <a:lumMod val="50000"/>
                  </a:schemeClr>
                </a:solidFill>
              </a:rPr>
              <a:t>(за кошти </a:t>
            </a:r>
            <a:r>
              <a:rPr lang="uk-UA" sz="1100" dirty="0">
                <a:solidFill>
                  <a:schemeClr val="accent3">
                    <a:lumMod val="50000"/>
                  </a:schemeClr>
                </a:solidFill>
              </a:rPr>
              <a:t>місцевих </a:t>
            </a:r>
            <a:r>
              <a:rPr lang="uk-UA" sz="1100" dirty="0" smtClean="0">
                <a:solidFill>
                  <a:schemeClr val="accent3">
                    <a:lumMod val="50000"/>
                  </a:schemeClr>
                </a:solidFill>
              </a:rPr>
              <a:t>бюджетів)</a:t>
            </a:r>
            <a:endParaRPr lang="uk-UA" sz="1100" b="1" u="sng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42" name="Округлений прямокутник 12"/>
          <p:cNvSpPr/>
          <p:nvPr/>
        </p:nvSpPr>
        <p:spPr>
          <a:xfrm>
            <a:off x="6660469" y="5585802"/>
            <a:ext cx="1988909" cy="1135673"/>
          </a:xfrm>
          <a:prstGeom prst="roundRect">
            <a:avLst/>
          </a:prstGeom>
          <a:solidFill>
            <a:schemeClr val="accent3">
              <a:lumMod val="40000"/>
              <a:lumOff val="60000"/>
            </a:schemeClr>
          </a:solidFill>
          <a:ln w="19050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b="1" dirty="0" smtClean="0">
                <a:solidFill>
                  <a:schemeClr val="accent3">
                    <a:lumMod val="50000"/>
                  </a:schemeClr>
                </a:solidFill>
              </a:rPr>
              <a:t>проектна документація</a:t>
            </a:r>
          </a:p>
          <a:p>
            <a:pPr algn="ctr"/>
            <a:r>
              <a:rPr lang="uk-UA" sz="1100" dirty="0" smtClean="0">
                <a:solidFill>
                  <a:schemeClr val="accent3">
                    <a:lumMod val="50000"/>
                  </a:schemeClr>
                </a:solidFill>
              </a:rPr>
              <a:t>(для проектів будівництва)</a:t>
            </a:r>
            <a:endParaRPr lang="uk-UA" sz="1100" b="1" u="sng" dirty="0">
              <a:solidFill>
                <a:schemeClr val="accent3">
                  <a:lumMod val="50000"/>
                </a:schemeClr>
              </a:solidFill>
            </a:endParaRPr>
          </a:p>
        </p:txBody>
      </p:sp>
      <p:cxnSp>
        <p:nvCxnSpPr>
          <p:cNvPr id="43" name="Прямая со стрелкой 42"/>
          <p:cNvCxnSpPr/>
          <p:nvPr/>
        </p:nvCxnSpPr>
        <p:spPr>
          <a:xfrm>
            <a:off x="1136585" y="5410111"/>
            <a:ext cx="0" cy="175691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4" name="Прямая со стрелкой 43"/>
          <p:cNvCxnSpPr/>
          <p:nvPr/>
        </p:nvCxnSpPr>
        <p:spPr>
          <a:xfrm>
            <a:off x="3329383" y="5410111"/>
            <a:ext cx="0" cy="175691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5" name="Прямая со стрелкой 44"/>
          <p:cNvCxnSpPr/>
          <p:nvPr/>
        </p:nvCxnSpPr>
        <p:spPr>
          <a:xfrm>
            <a:off x="5484878" y="5427378"/>
            <a:ext cx="0" cy="175691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/>
          <p:nvPr/>
        </p:nvCxnSpPr>
        <p:spPr>
          <a:xfrm>
            <a:off x="7654923" y="5410111"/>
            <a:ext cx="0" cy="175691"/>
          </a:xfrm>
          <a:prstGeom prst="straightConnector1">
            <a:avLst/>
          </a:prstGeom>
          <a:ln w="19050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29" name="Номер слайда 3"/>
          <p:cNvSpPr txBox="1">
            <a:spLocks/>
          </p:cNvSpPr>
          <p:nvPr/>
        </p:nvSpPr>
        <p:spPr>
          <a:xfrm>
            <a:off x="8693224" y="6597352"/>
            <a:ext cx="4507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uk-UA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EB238-E5C8-4806-8CFE-7B153C4DC58A}" type="slidenum">
              <a:rPr lang="uk-UA" smtClean="0"/>
              <a:pPr/>
              <a:t>7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20562240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ТЕХНІЧНІ ЗАВДАННЯ ДЛЯ ПРОЕКТІВ ДФРР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9" name="Изображение 1" descr="minregion_logo_concept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32" name="Прямоугольник 2"/>
          <p:cNvSpPr/>
          <p:nvPr/>
        </p:nvSpPr>
        <p:spPr>
          <a:xfrm flipV="1">
            <a:off x="390611" y="1052736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endParaRPr lang="uk-UA" dirty="0"/>
          </a:p>
        </p:txBody>
      </p:sp>
      <p:sp>
        <p:nvSpPr>
          <p:cNvPr id="60" name="Стрелка вверх 59"/>
          <p:cNvSpPr/>
          <p:nvPr/>
        </p:nvSpPr>
        <p:spPr>
          <a:xfrm>
            <a:off x="2508174" y="3705753"/>
            <a:ext cx="208424" cy="316072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84" name="Округлений прямокутник 38"/>
          <p:cNvSpPr/>
          <p:nvPr/>
        </p:nvSpPr>
        <p:spPr>
          <a:xfrm>
            <a:off x="7400979" y="2227510"/>
            <a:ext cx="1626807" cy="1129482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uk-UA" sz="2000" b="1" dirty="0" smtClean="0">
                <a:solidFill>
                  <a:schemeClr val="tx1"/>
                </a:solidFill>
              </a:rPr>
              <a:t>КОНКРЕТНІ</a:t>
            </a:r>
          </a:p>
          <a:p>
            <a:pPr algn="ctr"/>
            <a:r>
              <a:rPr lang="uk-UA" sz="2000" b="1" dirty="0" smtClean="0">
                <a:solidFill>
                  <a:schemeClr val="tx1"/>
                </a:solidFill>
              </a:rPr>
              <a:t>ПРОЕКТИ</a:t>
            </a:r>
            <a:endParaRPr lang="uk-UA" sz="2000" b="1" dirty="0">
              <a:solidFill>
                <a:schemeClr val="tx1"/>
              </a:solidFill>
            </a:endParaRPr>
          </a:p>
        </p:txBody>
      </p:sp>
      <p:sp>
        <p:nvSpPr>
          <p:cNvPr id="87" name="Не равно 86"/>
          <p:cNvSpPr/>
          <p:nvPr/>
        </p:nvSpPr>
        <p:spPr>
          <a:xfrm>
            <a:off x="6634919" y="2399256"/>
            <a:ext cx="827112" cy="597297"/>
          </a:xfrm>
          <a:prstGeom prst="mathNotEqual">
            <a:avLst>
              <a:gd name="adj1" fmla="val 23520"/>
              <a:gd name="adj2" fmla="val 6600000"/>
              <a:gd name="adj3" fmla="val 9002"/>
            </a:avLst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sz="1400" dirty="0">
              <a:solidFill>
                <a:schemeClr val="tx1"/>
              </a:solidFill>
            </a:endParaRPr>
          </a:p>
        </p:txBody>
      </p:sp>
      <p:sp>
        <p:nvSpPr>
          <p:cNvPr id="88" name="Овал 87"/>
          <p:cNvSpPr/>
          <p:nvPr/>
        </p:nvSpPr>
        <p:spPr>
          <a:xfrm>
            <a:off x="879083" y="1134821"/>
            <a:ext cx="1371968" cy="709342"/>
          </a:xfrm>
          <a:prstGeom prst="ellipse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>
              <a:noFill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1035227" y="1225159"/>
            <a:ext cx="1095417" cy="5196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uk-UA" sz="1400" b="1" dirty="0" smtClean="0">
                <a:solidFill>
                  <a:schemeClr val="tx2"/>
                </a:solidFill>
              </a:rPr>
              <a:t>Громада 1 </a:t>
            </a:r>
          </a:p>
          <a:p>
            <a:pPr algn="ctr"/>
            <a:r>
              <a:rPr lang="uk-UA" sz="1400" b="1" dirty="0" smtClean="0">
                <a:solidFill>
                  <a:srgbClr val="FF0000"/>
                </a:solidFill>
              </a:rPr>
              <a:t>Проект 3</a:t>
            </a:r>
            <a:endParaRPr lang="uk-UA" sz="1400" b="1" dirty="0">
              <a:solidFill>
                <a:srgbClr val="FF0000"/>
              </a:solidFill>
            </a:endParaRPr>
          </a:p>
        </p:txBody>
      </p:sp>
      <p:sp>
        <p:nvSpPr>
          <p:cNvPr id="92" name="Овал 91"/>
          <p:cNvSpPr/>
          <p:nvPr/>
        </p:nvSpPr>
        <p:spPr>
          <a:xfrm>
            <a:off x="2836854" y="1138805"/>
            <a:ext cx="1361042" cy="692989"/>
          </a:xfrm>
          <a:prstGeom prst="ellipse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>
              <a:noFill/>
            </a:endParaRPr>
          </a:p>
        </p:txBody>
      </p:sp>
      <p:sp>
        <p:nvSpPr>
          <p:cNvPr id="93" name="TextBox 92"/>
          <p:cNvSpPr txBox="1"/>
          <p:nvPr/>
        </p:nvSpPr>
        <p:spPr>
          <a:xfrm>
            <a:off x="3000733" y="1197581"/>
            <a:ext cx="10245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uk-UA" sz="1400" b="1" dirty="0" smtClean="0">
                <a:solidFill>
                  <a:schemeClr val="tx2"/>
                </a:solidFill>
              </a:rPr>
              <a:t>Громада 2 </a:t>
            </a:r>
          </a:p>
          <a:p>
            <a:pPr algn="ctr"/>
            <a:r>
              <a:rPr lang="uk-UA" sz="1400" b="1" dirty="0" smtClean="0">
                <a:solidFill>
                  <a:srgbClr val="FF0000"/>
                </a:solidFill>
              </a:rPr>
              <a:t>Проект 1</a:t>
            </a:r>
            <a:endParaRPr lang="uk-UA" sz="1400" b="1" dirty="0">
              <a:solidFill>
                <a:srgbClr val="FF0000"/>
              </a:solidFill>
            </a:endParaRPr>
          </a:p>
        </p:txBody>
      </p:sp>
      <p:sp>
        <p:nvSpPr>
          <p:cNvPr id="94" name="Овал 93"/>
          <p:cNvSpPr/>
          <p:nvPr/>
        </p:nvSpPr>
        <p:spPr>
          <a:xfrm>
            <a:off x="4614217" y="1158930"/>
            <a:ext cx="1364262" cy="676546"/>
          </a:xfrm>
          <a:prstGeom prst="ellipse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>
              <a:noFill/>
            </a:endParaRPr>
          </a:p>
        </p:txBody>
      </p:sp>
      <p:sp>
        <p:nvSpPr>
          <p:cNvPr id="95" name="TextBox 94"/>
          <p:cNvSpPr txBox="1"/>
          <p:nvPr/>
        </p:nvSpPr>
        <p:spPr>
          <a:xfrm>
            <a:off x="4784092" y="1250322"/>
            <a:ext cx="10245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uk-UA" sz="1400" b="1" dirty="0" smtClean="0">
                <a:solidFill>
                  <a:schemeClr val="tx2"/>
                </a:solidFill>
              </a:rPr>
              <a:t>Громада 3 </a:t>
            </a:r>
          </a:p>
          <a:p>
            <a:pPr algn="ctr"/>
            <a:r>
              <a:rPr lang="uk-UA" sz="1400" b="1" dirty="0" smtClean="0">
                <a:solidFill>
                  <a:srgbClr val="FF0000"/>
                </a:solidFill>
              </a:rPr>
              <a:t>Проект 4</a:t>
            </a:r>
            <a:endParaRPr lang="uk-UA" sz="1400" b="1" dirty="0">
              <a:solidFill>
                <a:srgbClr val="FF0000"/>
              </a:solidFill>
            </a:endParaRPr>
          </a:p>
        </p:txBody>
      </p:sp>
      <p:sp>
        <p:nvSpPr>
          <p:cNvPr id="96" name="Овал 95"/>
          <p:cNvSpPr/>
          <p:nvPr/>
        </p:nvSpPr>
        <p:spPr>
          <a:xfrm>
            <a:off x="6476389" y="1148483"/>
            <a:ext cx="1349835" cy="717184"/>
          </a:xfrm>
          <a:prstGeom prst="ellipse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 dirty="0">
              <a:noFill/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6590080" y="1263604"/>
            <a:ext cx="10245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uk-UA" sz="1400" b="1" dirty="0" smtClean="0">
                <a:solidFill>
                  <a:schemeClr val="tx2"/>
                </a:solidFill>
              </a:rPr>
              <a:t>Громада 4 </a:t>
            </a:r>
          </a:p>
          <a:p>
            <a:pPr algn="ctr"/>
            <a:r>
              <a:rPr lang="uk-UA" sz="1400" b="1" dirty="0" smtClean="0">
                <a:solidFill>
                  <a:srgbClr val="FF0000"/>
                </a:solidFill>
              </a:rPr>
              <a:t>Проект 2</a:t>
            </a:r>
            <a:endParaRPr lang="uk-UA" sz="1400" b="1" dirty="0">
              <a:solidFill>
                <a:srgbClr val="FF0000"/>
              </a:solidFill>
            </a:endParaRPr>
          </a:p>
        </p:txBody>
      </p:sp>
      <p:sp>
        <p:nvSpPr>
          <p:cNvPr id="108" name="Округлений прямокутник 38"/>
          <p:cNvSpPr/>
          <p:nvPr/>
        </p:nvSpPr>
        <p:spPr>
          <a:xfrm>
            <a:off x="47763" y="2106434"/>
            <a:ext cx="1756100" cy="161084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uk-UA" sz="1400" b="1" dirty="0" smtClean="0">
              <a:solidFill>
                <a:schemeClr val="tx1"/>
              </a:solidFill>
            </a:endParaRPr>
          </a:p>
          <a:p>
            <a:pPr algn="ctr"/>
            <a:endParaRPr lang="uk-UA" sz="1400" b="1" dirty="0" smtClean="0">
              <a:solidFill>
                <a:schemeClr val="tx1"/>
              </a:solidFill>
            </a:endParaRPr>
          </a:p>
          <a:p>
            <a:pPr algn="ctr"/>
            <a:r>
              <a:rPr lang="uk-UA" sz="1600" dirty="0" smtClean="0">
                <a:solidFill>
                  <a:schemeClr val="tx1"/>
                </a:solidFill>
              </a:rPr>
              <a:t>КОНКУРСНИЙ ВІДБІР ПРОЕКТІВ </a:t>
            </a:r>
          </a:p>
          <a:p>
            <a:pPr algn="ctr"/>
            <a:r>
              <a:rPr lang="uk-UA" sz="1600" b="1" u="sng" dirty="0" smtClean="0">
                <a:solidFill>
                  <a:schemeClr val="tx1"/>
                </a:solidFill>
              </a:rPr>
              <a:t>НА РЕАЛІЗАЦІЮ ТЕХНІЧНОГО</a:t>
            </a:r>
            <a:r>
              <a:rPr lang="uk-UA" sz="1400" b="1" u="sng" dirty="0" smtClean="0">
                <a:solidFill>
                  <a:schemeClr val="tx1"/>
                </a:solidFill>
              </a:rPr>
              <a:t> ЗАВДАННЯ </a:t>
            </a:r>
            <a:endParaRPr lang="uk-UA" sz="1400" b="1" u="sng" dirty="0">
              <a:solidFill>
                <a:schemeClr val="tx1"/>
              </a:solidFill>
            </a:endParaRPr>
          </a:p>
        </p:txBody>
      </p:sp>
      <p:pic>
        <p:nvPicPr>
          <p:cNvPr id="109" name="Рисунок 10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8740" y="1835707"/>
            <a:ext cx="1154941" cy="834931"/>
          </a:xfrm>
          <a:prstGeom prst="rect">
            <a:avLst/>
          </a:prstGeom>
        </p:spPr>
      </p:pic>
      <p:sp>
        <p:nvSpPr>
          <p:cNvPr id="16" name="Стрелка влево 15"/>
          <p:cNvSpPr/>
          <p:nvPr/>
        </p:nvSpPr>
        <p:spPr>
          <a:xfrm>
            <a:off x="1803724" y="2651424"/>
            <a:ext cx="468834" cy="289941"/>
          </a:xfrm>
          <a:prstGeom prst="leftArrow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17" name="Выгнутая вверх стрелка 16"/>
          <p:cNvSpPr/>
          <p:nvPr/>
        </p:nvSpPr>
        <p:spPr>
          <a:xfrm rot="16937487">
            <a:off x="-59143" y="5486819"/>
            <a:ext cx="1049876" cy="630376"/>
          </a:xfrm>
          <a:prstGeom prst="curvedDownArrow">
            <a:avLst>
              <a:gd name="adj1" fmla="val 25000"/>
              <a:gd name="adj2" fmla="val 50000"/>
              <a:gd name="adj3" fmla="val 25000"/>
            </a:avLst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sp>
        <p:nvSpPr>
          <p:cNvPr id="110" name="Выгнутая вверх стрелка 109"/>
          <p:cNvSpPr/>
          <p:nvPr/>
        </p:nvSpPr>
        <p:spPr>
          <a:xfrm rot="17587033">
            <a:off x="334464" y="4323924"/>
            <a:ext cx="980553" cy="536763"/>
          </a:xfrm>
          <a:prstGeom prst="curvedDownArrow">
            <a:avLst>
              <a:gd name="adj1" fmla="val 25000"/>
              <a:gd name="adj2" fmla="val 50000"/>
              <a:gd name="adj3" fmla="val 25000"/>
            </a:avLst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sp>
        <p:nvSpPr>
          <p:cNvPr id="19" name="Выгнутая вниз стрелка 18"/>
          <p:cNvSpPr/>
          <p:nvPr/>
        </p:nvSpPr>
        <p:spPr>
          <a:xfrm rot="14812534">
            <a:off x="8235215" y="5485588"/>
            <a:ext cx="1047145" cy="576547"/>
          </a:xfrm>
          <a:prstGeom prst="curvedUpArrow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sp>
        <p:nvSpPr>
          <p:cNvPr id="112" name="Выгнутая вниз стрелка 111"/>
          <p:cNvSpPr/>
          <p:nvPr/>
        </p:nvSpPr>
        <p:spPr>
          <a:xfrm rot="14464026">
            <a:off x="7877001" y="4251789"/>
            <a:ext cx="917169" cy="584023"/>
          </a:xfrm>
          <a:prstGeom prst="curvedUpArrow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tx1"/>
              </a:solidFill>
            </a:endParaRPr>
          </a:p>
        </p:txBody>
      </p:sp>
      <p:sp>
        <p:nvSpPr>
          <p:cNvPr id="39" name="Номер слайда 3"/>
          <p:cNvSpPr txBox="1">
            <a:spLocks/>
          </p:cNvSpPr>
          <p:nvPr/>
        </p:nvSpPr>
        <p:spPr>
          <a:xfrm>
            <a:off x="8693224" y="6597352"/>
            <a:ext cx="4507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uk-UA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B4EB238-E5C8-4806-8CFE-7B153C4DC58A}" type="slidenum">
              <a:rPr lang="uk-UA" smtClean="0"/>
              <a:pPr/>
              <a:t>8</a:t>
            </a:fld>
            <a:endParaRPr lang="uk-UA" dirty="0"/>
          </a:p>
        </p:txBody>
      </p:sp>
      <p:sp>
        <p:nvSpPr>
          <p:cNvPr id="3" name="Округлений прямокутник 2"/>
          <p:cNvSpPr/>
          <p:nvPr/>
        </p:nvSpPr>
        <p:spPr>
          <a:xfrm>
            <a:off x="2297012" y="2240984"/>
            <a:ext cx="4416303" cy="145310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3200" b="1" dirty="0">
                <a:solidFill>
                  <a:schemeClr val="tx2">
                    <a:lumMod val="75000"/>
                  </a:schemeClr>
                </a:solidFill>
              </a:rPr>
              <a:t>ТЕХНІЧНІ ЗАВДАННЯ</a:t>
            </a:r>
          </a:p>
          <a:p>
            <a:pPr algn="ctr"/>
            <a:r>
              <a:rPr lang="uk-UA" sz="2400" b="1" dirty="0">
                <a:solidFill>
                  <a:schemeClr val="tx2">
                    <a:lumMod val="75000"/>
                  </a:schemeClr>
                </a:solidFill>
              </a:rPr>
              <a:t>ДЛЯ ПРОЕКТІВ ДФРР</a:t>
            </a:r>
          </a:p>
          <a:p>
            <a:pPr algn="ctr"/>
            <a:r>
              <a:rPr lang="uk-UA" b="1" dirty="0">
                <a:solidFill>
                  <a:schemeClr val="tx2">
                    <a:lumMod val="75000"/>
                  </a:schemeClr>
                </a:solidFill>
              </a:rPr>
              <a:t>(здійснення комплексу заходів щодо…)</a:t>
            </a:r>
          </a:p>
          <a:p>
            <a:pPr algn="ctr"/>
            <a:r>
              <a:rPr lang="uk-UA" b="1" dirty="0">
                <a:solidFill>
                  <a:schemeClr val="tx2">
                    <a:lumMod val="75000"/>
                  </a:schemeClr>
                </a:solidFill>
              </a:rPr>
              <a:t>(створення умов для </a:t>
            </a:r>
            <a:r>
              <a:rPr lang="uk-UA" b="1" dirty="0" smtClean="0">
                <a:solidFill>
                  <a:schemeClr val="tx2">
                    <a:lumMod val="75000"/>
                  </a:schemeClr>
                </a:solidFill>
              </a:rPr>
              <a:t>…)</a:t>
            </a:r>
            <a:endParaRPr lang="uk-UA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4" name="Округлений прямокутник 3"/>
          <p:cNvSpPr/>
          <p:nvPr/>
        </p:nvSpPr>
        <p:spPr>
          <a:xfrm>
            <a:off x="1234234" y="4061824"/>
            <a:ext cx="6683130" cy="765199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400" b="1" dirty="0">
                <a:solidFill>
                  <a:schemeClr val="tx2">
                    <a:lumMod val="75000"/>
                  </a:schemeClr>
                </a:solidFill>
              </a:rPr>
              <a:t>ПЛАНИ ЗАХОДІВ </a:t>
            </a:r>
          </a:p>
          <a:p>
            <a:pPr algn="ctr"/>
            <a:r>
              <a:rPr lang="uk-UA" b="1" dirty="0">
                <a:solidFill>
                  <a:schemeClr val="tx2">
                    <a:lumMod val="75000"/>
                  </a:schemeClr>
                </a:solidFill>
              </a:rPr>
              <a:t>З РЕАЛІЗАЦІІ РЕГІОНАЛЬНИХ СТРАТЕГІЙ РОЗВИТКУ</a:t>
            </a:r>
            <a:endParaRPr lang="uk-UA" dirty="0"/>
          </a:p>
        </p:txBody>
      </p:sp>
      <p:sp>
        <p:nvSpPr>
          <p:cNvPr id="42" name="Стрелка вверх 59"/>
          <p:cNvSpPr/>
          <p:nvPr/>
        </p:nvSpPr>
        <p:spPr>
          <a:xfrm>
            <a:off x="3074069" y="3725139"/>
            <a:ext cx="208424" cy="332566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3" name="Стрелка вверх 59"/>
          <p:cNvSpPr/>
          <p:nvPr/>
        </p:nvSpPr>
        <p:spPr>
          <a:xfrm>
            <a:off x="3629745" y="3725138"/>
            <a:ext cx="208424" cy="310887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5" name="Стрелка вверх 59"/>
          <p:cNvSpPr/>
          <p:nvPr/>
        </p:nvSpPr>
        <p:spPr>
          <a:xfrm>
            <a:off x="4656685" y="3716161"/>
            <a:ext cx="208424" cy="319863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6" name="Стрелка вверх 59"/>
          <p:cNvSpPr/>
          <p:nvPr/>
        </p:nvSpPr>
        <p:spPr>
          <a:xfrm>
            <a:off x="6182938" y="3703762"/>
            <a:ext cx="208424" cy="344271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47" name="Стрелка вверх 59"/>
          <p:cNvSpPr/>
          <p:nvPr/>
        </p:nvSpPr>
        <p:spPr>
          <a:xfrm>
            <a:off x="5727751" y="3694092"/>
            <a:ext cx="208424" cy="363613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66" name="Округлений прямокутник 65"/>
          <p:cNvSpPr/>
          <p:nvPr/>
        </p:nvSpPr>
        <p:spPr>
          <a:xfrm>
            <a:off x="934861" y="4976275"/>
            <a:ext cx="7339377" cy="823676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k-UA" sz="2400" b="1" dirty="0">
                <a:solidFill>
                  <a:schemeClr val="tx2">
                    <a:lumMod val="75000"/>
                  </a:schemeClr>
                </a:solidFill>
              </a:rPr>
              <a:t>РЕГІОНАЛЬНІ </a:t>
            </a:r>
          </a:p>
          <a:p>
            <a:pPr algn="ctr"/>
            <a:r>
              <a:rPr lang="uk-UA" b="1" dirty="0">
                <a:solidFill>
                  <a:schemeClr val="tx2">
                    <a:lumMod val="75000"/>
                  </a:schemeClr>
                </a:solidFill>
              </a:rPr>
              <a:t>СТРАТЕГІЇ РОЗВИТКУ </a:t>
            </a:r>
          </a:p>
        </p:txBody>
      </p:sp>
      <p:sp>
        <p:nvSpPr>
          <p:cNvPr id="69" name="Округлений прямокутник 68"/>
          <p:cNvSpPr/>
          <p:nvPr/>
        </p:nvSpPr>
        <p:spPr>
          <a:xfrm>
            <a:off x="688739" y="5893680"/>
            <a:ext cx="7935273" cy="82367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bg1"/>
                </a:solidFill>
              </a:rPr>
              <a:t>ДЕРЖАВНА </a:t>
            </a:r>
          </a:p>
          <a:p>
            <a:pPr algn="ctr"/>
            <a:r>
              <a:rPr lang="ru-RU" b="1" dirty="0">
                <a:solidFill>
                  <a:schemeClr val="bg1"/>
                </a:solidFill>
              </a:rPr>
              <a:t>СТРАТЕГІЯ РЕГІОНАЛЬНОГО РОЗВИТКУ </a:t>
            </a:r>
            <a:r>
              <a:rPr lang="ru-RU" b="1" dirty="0" smtClean="0">
                <a:solidFill>
                  <a:schemeClr val="bg1"/>
                </a:solidFill>
              </a:rPr>
              <a:t>УКРАЇНИ</a:t>
            </a:r>
            <a:endParaRPr lang="uk-UA" b="1" dirty="0">
              <a:solidFill>
                <a:schemeClr val="bg1"/>
              </a:solidFill>
            </a:endParaRPr>
          </a:p>
        </p:txBody>
      </p:sp>
      <p:sp>
        <p:nvSpPr>
          <p:cNvPr id="30" name="Стрілка вниз 29"/>
          <p:cNvSpPr/>
          <p:nvPr/>
        </p:nvSpPr>
        <p:spPr>
          <a:xfrm>
            <a:off x="3404976" y="1848094"/>
            <a:ext cx="216024" cy="361843"/>
          </a:xfrm>
          <a:prstGeom prst="downArrow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0" name="Стрілка вниз 69"/>
          <p:cNvSpPr/>
          <p:nvPr/>
        </p:nvSpPr>
        <p:spPr>
          <a:xfrm>
            <a:off x="5155385" y="1857071"/>
            <a:ext cx="216024" cy="361843"/>
          </a:xfrm>
          <a:prstGeom prst="downArrow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1" name="Стрілка вниз 70"/>
          <p:cNvSpPr/>
          <p:nvPr/>
        </p:nvSpPr>
        <p:spPr>
          <a:xfrm rot="2602648">
            <a:off x="6218470" y="1628687"/>
            <a:ext cx="269886" cy="659763"/>
          </a:xfrm>
          <a:prstGeom prst="downArrow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2" name="Стрілка вниз 71"/>
          <p:cNvSpPr/>
          <p:nvPr/>
        </p:nvSpPr>
        <p:spPr>
          <a:xfrm rot="18845985">
            <a:off x="2255075" y="1634893"/>
            <a:ext cx="267376" cy="622917"/>
          </a:xfrm>
          <a:prstGeom prst="downArrow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3" name="Стрелка вверх 59"/>
          <p:cNvSpPr/>
          <p:nvPr/>
        </p:nvSpPr>
        <p:spPr>
          <a:xfrm>
            <a:off x="4173911" y="3726359"/>
            <a:ext cx="208424" cy="310887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74" name="Стрелка вверх 59"/>
          <p:cNvSpPr/>
          <p:nvPr/>
        </p:nvSpPr>
        <p:spPr>
          <a:xfrm>
            <a:off x="5150655" y="3726231"/>
            <a:ext cx="208424" cy="310887"/>
          </a:xfrm>
          <a:prstGeom prst="upArrow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3064375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Rectangle 3"/>
          <p:cNvSpPr txBox="1">
            <a:spLocks noChangeArrowheads="1"/>
          </p:cNvSpPr>
          <p:nvPr/>
        </p:nvSpPr>
        <p:spPr>
          <a:xfrm>
            <a:off x="952124" y="352356"/>
            <a:ext cx="7671889" cy="510015"/>
          </a:xfrm>
          <a:prstGeom prst="rect">
            <a:avLst/>
          </a:prstGeom>
          <a:ln>
            <a:noFill/>
          </a:ln>
        </p:spPr>
        <p:txBody>
          <a:bodyPr vert="horz" lIns="89260" tIns="44633" rIns="89260" bIns="44633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fontAlgn="base">
              <a:spcAft>
                <a:spcPct val="0"/>
              </a:spcAft>
              <a:buNone/>
              <a:tabLst>
                <a:tab pos="879279" algn="l"/>
              </a:tabLst>
            </a:pPr>
            <a:r>
              <a:rPr lang="ru-RU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КРИТЕР</a:t>
            </a:r>
            <a:r>
              <a:rPr lang="uk-UA" altLang="ru-RU" sz="2400" dirty="0" smtClean="0">
                <a:solidFill>
                  <a:srgbClr val="1D89CB"/>
                </a:solidFill>
                <a:latin typeface="Calibri" pitchFamily="34" charset="0"/>
                <a:cs typeface="Arial" pitchFamily="34" charset="0"/>
              </a:rPr>
              <a:t>ІЇ ОЦІНЮВАННЯ ПРОЕКТІВ</a:t>
            </a:r>
            <a:endParaRPr lang="ru-RU" altLang="ru-RU" sz="2400" dirty="0">
              <a:solidFill>
                <a:srgbClr val="1D89CB"/>
              </a:solidFill>
              <a:latin typeface="Calibri" pitchFamily="34" charset="0"/>
              <a:cs typeface="Arial" pitchFamily="34" charset="0"/>
            </a:endParaRPr>
          </a:p>
        </p:txBody>
      </p:sp>
      <p:pic>
        <p:nvPicPr>
          <p:cNvPr id="2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91422"/>
            <a:ext cx="623914" cy="83188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-304800" y="381000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pic>
        <p:nvPicPr>
          <p:cNvPr id="97" name="Изображение 1" descr="minregion_logo_concept.p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169" y="122842"/>
            <a:ext cx="623914" cy="831885"/>
          </a:xfrm>
          <a:prstGeom prst="rect">
            <a:avLst/>
          </a:prstGeom>
        </p:spPr>
      </p:pic>
      <p:sp>
        <p:nvSpPr>
          <p:cNvPr id="98" name="Прямоугольник 2"/>
          <p:cNvSpPr/>
          <p:nvPr/>
        </p:nvSpPr>
        <p:spPr>
          <a:xfrm flipV="1">
            <a:off x="420620" y="977588"/>
            <a:ext cx="8370377" cy="45719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Прямокутник 17"/>
          <p:cNvSpPr/>
          <p:nvPr/>
        </p:nvSpPr>
        <p:spPr>
          <a:xfrm>
            <a:off x="188349" y="2424953"/>
            <a:ext cx="3981611" cy="2923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0"/>
              </a:spcAft>
            </a:pPr>
            <a:endParaRPr lang="uk-UA" sz="1300" strike="sngStrike" dirty="0">
              <a:solidFill>
                <a:srgbClr val="000000"/>
              </a:solidFill>
              <a:effectLst/>
              <a:latin typeface="+mj-lt"/>
              <a:ea typeface="Calibri" panose="020F0502020204030204" pitchFamily="34" charset="0"/>
            </a:endParaRPr>
          </a:p>
        </p:txBody>
      </p:sp>
      <p:sp>
        <p:nvSpPr>
          <p:cNvPr id="20" name="Прямокутник 19"/>
          <p:cNvSpPr/>
          <p:nvPr/>
        </p:nvSpPr>
        <p:spPr>
          <a:xfrm>
            <a:off x="362802" y="1412776"/>
            <a:ext cx="8400386" cy="6037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uk-UA" sz="800" b="1" i="1" dirty="0" smtClean="0">
              <a:solidFill>
                <a:srgbClr val="0070C0"/>
              </a:solidFill>
            </a:endParaRPr>
          </a:p>
          <a:p>
            <a:pPr marL="514350" indent="-514350" algn="just">
              <a:spcBef>
                <a:spcPts val="200"/>
              </a:spcBef>
              <a:spcAft>
                <a:spcPts val="200"/>
              </a:spcAft>
              <a:buFont typeface="+mj-lt"/>
              <a:buAutoNum type="arabicPeriod"/>
            </a:pPr>
            <a:r>
              <a:rPr lang="uk-UA" sz="3000" b="1" i="1" dirty="0" smtClean="0">
                <a:solidFill>
                  <a:srgbClr val="0070C0"/>
                </a:solidFill>
              </a:rPr>
              <a:t>Територія охоплення вирішення проблеми</a:t>
            </a:r>
            <a:r>
              <a:rPr lang="en-US" sz="3000" b="1" i="1" dirty="0" smtClean="0">
                <a:solidFill>
                  <a:srgbClr val="0070C0"/>
                </a:solidFill>
              </a:rPr>
              <a:t> </a:t>
            </a:r>
            <a:r>
              <a:rPr lang="en-US" sz="2400" b="1" i="1" u="sng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uk-UA" sz="2400" b="1" i="1" u="sng" dirty="0" smtClean="0">
                <a:solidFill>
                  <a:schemeClr val="accent1">
                    <a:lumMod val="75000"/>
                  </a:schemeClr>
                </a:solidFill>
              </a:rPr>
              <a:t>окремо оцінюються проекти ОТГ)</a:t>
            </a:r>
            <a:r>
              <a:rPr lang="uk-UA" sz="2400" b="1" i="1" dirty="0" smtClean="0">
                <a:solidFill>
                  <a:srgbClr val="0070C0"/>
                </a:solidFill>
              </a:rPr>
              <a:t>.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uk-UA" sz="800" b="1" i="1" dirty="0" smtClean="0">
              <a:solidFill>
                <a:srgbClr val="0070C0"/>
              </a:solidFill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3000" b="1" i="1" dirty="0" smtClean="0">
                <a:solidFill>
                  <a:srgbClr val="0070C0"/>
                </a:solidFill>
              </a:rPr>
              <a:t>2. Вплив проекту на вирішення проблеми.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uk-UA" sz="800" b="1" i="1" dirty="0" smtClean="0">
              <a:solidFill>
                <a:srgbClr val="0070C0"/>
              </a:solidFill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3000" b="1" i="1" dirty="0" smtClean="0">
                <a:solidFill>
                  <a:srgbClr val="0070C0"/>
                </a:solidFill>
              </a:rPr>
              <a:t>3. </a:t>
            </a:r>
            <a:r>
              <a:rPr lang="uk-UA" sz="3000" b="1" i="1" dirty="0" err="1" smtClean="0">
                <a:solidFill>
                  <a:srgbClr val="0070C0"/>
                </a:solidFill>
              </a:rPr>
              <a:t>Інноваційність</a:t>
            </a:r>
            <a:r>
              <a:rPr lang="uk-UA" sz="3000" b="1" i="1" dirty="0" smtClean="0">
                <a:solidFill>
                  <a:srgbClr val="0070C0"/>
                </a:solidFill>
              </a:rPr>
              <a:t> проекту.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uk-UA" sz="800" b="1" i="1" dirty="0" smtClean="0">
              <a:solidFill>
                <a:srgbClr val="0070C0"/>
              </a:solidFill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3000" b="1" i="1" dirty="0" smtClean="0">
                <a:solidFill>
                  <a:srgbClr val="0070C0"/>
                </a:solidFill>
              </a:rPr>
              <a:t>4. </a:t>
            </a:r>
            <a:r>
              <a:rPr lang="uk-UA" sz="3000" b="1" i="1" dirty="0" err="1" smtClean="0">
                <a:solidFill>
                  <a:srgbClr val="0070C0"/>
                </a:solidFill>
              </a:rPr>
              <a:t>Співфінансування</a:t>
            </a:r>
            <a:r>
              <a:rPr lang="uk-UA" sz="3000" b="1" i="1" dirty="0" smtClean="0">
                <a:solidFill>
                  <a:srgbClr val="0070C0"/>
                </a:solidFill>
              </a:rPr>
              <a:t> </a:t>
            </a:r>
            <a:r>
              <a:rPr lang="uk-UA" sz="3000" b="1" i="1" dirty="0">
                <a:solidFill>
                  <a:srgbClr val="0070C0"/>
                </a:solidFill>
              </a:rPr>
              <a:t>з місцевих </a:t>
            </a:r>
            <a:r>
              <a:rPr lang="uk-UA" sz="3000" b="1" i="1" dirty="0" smtClean="0">
                <a:solidFill>
                  <a:srgbClr val="0070C0"/>
                </a:solidFill>
              </a:rPr>
              <a:t>бюджетів </a:t>
            </a:r>
            <a:r>
              <a:rPr lang="uk-UA" sz="2400" b="1" i="1" dirty="0" smtClean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uk-UA" sz="2400" b="1" i="1" u="sng" dirty="0" smtClean="0">
                <a:solidFill>
                  <a:schemeClr val="accent1">
                    <a:lumMod val="75000"/>
                  </a:schemeClr>
                </a:solidFill>
              </a:rPr>
              <a:t>окремо оцінюються громади потенційно не спроможні та потенційно спроможні вирішити проблему</a:t>
            </a:r>
            <a:r>
              <a:rPr lang="uk-UA" sz="2400" b="1" i="1" dirty="0" smtClean="0">
                <a:solidFill>
                  <a:schemeClr val="accent1">
                    <a:lumMod val="75000"/>
                  </a:schemeClr>
                </a:solidFill>
              </a:rPr>
              <a:t>).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uk-UA" sz="800" b="1" i="1" dirty="0" smtClean="0">
              <a:solidFill>
                <a:srgbClr val="0070C0"/>
              </a:solidFill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r>
              <a:rPr lang="uk-UA" sz="3000" b="1" i="1" dirty="0" smtClean="0">
                <a:solidFill>
                  <a:srgbClr val="0070C0"/>
                </a:solidFill>
              </a:rPr>
              <a:t>5. Соціально-економічні особливості проекту.</a:t>
            </a: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uk-UA" sz="3000" b="1" i="1" dirty="0" smtClean="0">
              <a:solidFill>
                <a:srgbClr val="0070C0"/>
              </a:solidFill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uk-UA" sz="2800" b="1" i="1" dirty="0" smtClean="0">
              <a:solidFill>
                <a:srgbClr val="0070C0"/>
              </a:solidFill>
            </a:endParaRPr>
          </a:p>
          <a:p>
            <a:pPr algn="just">
              <a:spcBef>
                <a:spcPts val="200"/>
              </a:spcBef>
              <a:spcAft>
                <a:spcPts val="200"/>
              </a:spcAft>
            </a:pPr>
            <a:endParaRPr lang="uk-UA" sz="2800" b="1" i="1" dirty="0">
              <a:solidFill>
                <a:srgbClr val="0070C0"/>
              </a:solidFill>
            </a:endParaRPr>
          </a:p>
        </p:txBody>
      </p:sp>
      <p:sp>
        <p:nvSpPr>
          <p:cNvPr id="9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948264" y="6492875"/>
            <a:ext cx="2133600" cy="365125"/>
          </a:xfrm>
        </p:spPr>
        <p:txBody>
          <a:bodyPr/>
          <a:lstStyle/>
          <a:p>
            <a:fld id="{D9007140-6995-4AB9-AB6F-66370758DCF6}" type="slidenum">
              <a:rPr lang="uk-UA" smtClean="0"/>
              <a:t>9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4065636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ITQOMvr0Gv2EgWtM5H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eITQOMvr0Gv2EgWtM5HLg"/>
</p:tagLst>
</file>

<file path=ppt/theme/theme1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916</TotalTime>
  <Words>1923</Words>
  <Application>Microsoft Office PowerPoint</Application>
  <PresentationFormat>Екран (4:3)</PresentationFormat>
  <Paragraphs>739</Paragraphs>
  <Slides>17</Slides>
  <Notes>4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ів</vt:lpstr>
      </vt:variant>
      <vt:variant>
        <vt:i4>17</vt:i4>
      </vt:variant>
    </vt:vector>
  </HeadingPairs>
  <TitlesOfParts>
    <vt:vector size="18" baseType="lpstr">
      <vt:lpstr>Тема Office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  <vt:lpstr>Презентаці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РЯДОК  підготовки, оцінки та відбору інвестиційних програм і проектів регіонального розвитку, що можуть реалізуватися за рахунок коштів державного фонду регіонального розвитку у 2015 році</dc:title>
  <dc:creator>Яндюк Андрій Анатолійович</dc:creator>
  <cp:lastModifiedBy>TopikhaOYu</cp:lastModifiedBy>
  <cp:revision>486</cp:revision>
  <cp:lastPrinted>2017-03-15T13:36:20Z</cp:lastPrinted>
  <dcterms:created xsi:type="dcterms:W3CDTF">2015-02-14T11:38:58Z</dcterms:created>
  <dcterms:modified xsi:type="dcterms:W3CDTF">2017-04-04T16:52:01Z</dcterms:modified>
</cp:coreProperties>
</file>